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4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7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3709" r:id="rId5"/>
  </p:sldMasterIdLst>
  <p:notesMasterIdLst>
    <p:notesMasterId r:id="rId43"/>
  </p:notesMasterIdLst>
  <p:handoutMasterIdLst>
    <p:handoutMasterId r:id="rId44"/>
  </p:handoutMasterIdLst>
  <p:sldIdLst>
    <p:sldId id="262" r:id="rId6"/>
    <p:sldId id="586" r:id="rId7"/>
    <p:sldId id="706" r:id="rId8"/>
    <p:sldId id="717" r:id="rId9"/>
    <p:sldId id="708" r:id="rId10"/>
    <p:sldId id="690" r:id="rId11"/>
    <p:sldId id="665" r:id="rId12"/>
    <p:sldId id="714" r:id="rId13"/>
    <p:sldId id="733" r:id="rId14"/>
    <p:sldId id="712" r:id="rId15"/>
    <p:sldId id="709" r:id="rId16"/>
    <p:sldId id="713" r:id="rId17"/>
    <p:sldId id="710" r:id="rId18"/>
    <p:sldId id="711" r:id="rId19"/>
    <p:sldId id="691" r:id="rId20"/>
    <p:sldId id="725" r:id="rId21"/>
    <p:sldId id="727" r:id="rId22"/>
    <p:sldId id="730" r:id="rId23"/>
    <p:sldId id="735" r:id="rId24"/>
    <p:sldId id="728" r:id="rId25"/>
    <p:sldId id="729" r:id="rId26"/>
    <p:sldId id="693" r:id="rId27"/>
    <p:sldId id="705" r:id="rId28"/>
    <p:sldId id="703" r:id="rId29"/>
    <p:sldId id="700" r:id="rId30"/>
    <p:sldId id="702" r:id="rId31"/>
    <p:sldId id="699" r:id="rId32"/>
    <p:sldId id="694" r:id="rId33"/>
    <p:sldId id="715" r:id="rId34"/>
    <p:sldId id="734" r:id="rId35"/>
    <p:sldId id="695" r:id="rId36"/>
    <p:sldId id="718" r:id="rId37"/>
    <p:sldId id="719" r:id="rId38"/>
    <p:sldId id="720" r:id="rId39"/>
    <p:sldId id="721" r:id="rId40"/>
    <p:sldId id="732" r:id="rId41"/>
    <p:sldId id="723" r:id="rId42"/>
  </p:sldIdLst>
  <p:sldSz cx="12192000" cy="6858000"/>
  <p:notesSz cx="6858000" cy="9144000"/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seite" id="{9AFD9A65-2C14-4BD7-9469-F5EC1E936BD4}">
          <p14:sldIdLst>
            <p14:sldId id="262"/>
            <p14:sldId id="586"/>
            <p14:sldId id="706"/>
            <p14:sldId id="717"/>
            <p14:sldId id="708"/>
            <p14:sldId id="690"/>
            <p14:sldId id="665"/>
            <p14:sldId id="714"/>
            <p14:sldId id="733"/>
            <p14:sldId id="712"/>
            <p14:sldId id="709"/>
            <p14:sldId id="713"/>
            <p14:sldId id="710"/>
            <p14:sldId id="711"/>
            <p14:sldId id="691"/>
            <p14:sldId id="725"/>
            <p14:sldId id="727"/>
            <p14:sldId id="730"/>
            <p14:sldId id="735"/>
            <p14:sldId id="728"/>
            <p14:sldId id="729"/>
            <p14:sldId id="693"/>
            <p14:sldId id="705"/>
            <p14:sldId id="703"/>
            <p14:sldId id="700"/>
            <p14:sldId id="702"/>
            <p14:sldId id="699"/>
            <p14:sldId id="694"/>
            <p14:sldId id="715"/>
            <p14:sldId id="734"/>
            <p14:sldId id="695"/>
            <p14:sldId id="718"/>
            <p14:sldId id="719"/>
            <p14:sldId id="720"/>
            <p14:sldId id="721"/>
            <p14:sldId id="732"/>
            <p14:sldId id="72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gelc.tmt22" initials="v" lastIdx="1" clrIdx="0">
    <p:extLst>
      <p:ext uri="{19B8F6BF-5375-455C-9EA6-DF929625EA0E}">
        <p15:presenceInfo xmlns:p15="http://schemas.microsoft.com/office/powerpoint/2012/main" userId="S-1-5-21-3381381580-3968739288-3351514432-499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7D8990"/>
    <a:srgbClr val="7F7F7F"/>
    <a:srgbClr val="E2001A"/>
    <a:srgbClr val="E93D51"/>
    <a:srgbClr val="CC9B00"/>
    <a:srgbClr val="BBC1C5"/>
    <a:srgbClr val="FFFFFF"/>
    <a:srgbClr val="A6A6A6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A25FFA-8C31-44AB-96A2-0003BFD9D07A}" v="2" dt="2025-07-03T14:45:01.1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9" d="100"/>
          <a:sy n="89" d="100"/>
        </p:scale>
        <p:origin x="132" y="4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an Reile" userId="0b7e6988-e521-4a1e-900b-efd6b80549e1" providerId="ADAL" clId="{A1DA0570-4E03-4A15-AB9A-1B76EFA91AF1}"/>
    <pc:docChg chg="custSel addSld delSld modSld sldOrd modSection">
      <pc:chgData name="Christian Reile" userId="0b7e6988-e521-4a1e-900b-efd6b80549e1" providerId="ADAL" clId="{A1DA0570-4E03-4A15-AB9A-1B76EFA91AF1}" dt="2025-04-22T10:34:25.028" v="297" actId="1037"/>
      <pc:docMkLst>
        <pc:docMk/>
      </pc:docMkLst>
      <pc:sldChg chg="del">
        <pc:chgData name="Christian Reile" userId="0b7e6988-e521-4a1e-900b-efd6b80549e1" providerId="ADAL" clId="{A1DA0570-4E03-4A15-AB9A-1B76EFA91AF1}" dt="2025-04-22T10:19:49.535" v="157" actId="2696"/>
        <pc:sldMkLst>
          <pc:docMk/>
          <pc:sldMk cId="2588153059" sldId="664"/>
        </pc:sldMkLst>
      </pc:sldChg>
      <pc:sldChg chg="addSp delSp modSp add ord">
        <pc:chgData name="Christian Reile" userId="0b7e6988-e521-4a1e-900b-efd6b80549e1" providerId="ADAL" clId="{A1DA0570-4E03-4A15-AB9A-1B76EFA91AF1}" dt="2025-04-22T10:16:07.868" v="26" actId="1076"/>
        <pc:sldMkLst>
          <pc:docMk/>
          <pc:sldMk cId="544195729" sldId="665"/>
        </pc:sldMkLst>
      </pc:sldChg>
      <pc:sldChg chg="addSp delSp modSp add">
        <pc:chgData name="Christian Reile" userId="0b7e6988-e521-4a1e-900b-efd6b80549e1" providerId="ADAL" clId="{A1DA0570-4E03-4A15-AB9A-1B76EFA91AF1}" dt="2025-04-22T10:19:15.213" v="156" actId="1076"/>
        <pc:sldMkLst>
          <pc:docMk/>
          <pc:sldMk cId="1275637943" sldId="666"/>
        </pc:sldMkLst>
      </pc:sldChg>
      <pc:sldChg chg="addSp delSp modSp add">
        <pc:chgData name="Christian Reile" userId="0b7e6988-e521-4a1e-900b-efd6b80549e1" providerId="ADAL" clId="{A1DA0570-4E03-4A15-AB9A-1B76EFA91AF1}" dt="2025-04-22T10:34:25.028" v="297" actId="1037"/>
        <pc:sldMkLst>
          <pc:docMk/>
          <pc:sldMk cId="861624178" sldId="667"/>
        </pc:sldMkLst>
      </pc:sldChg>
      <pc:sldChg chg="delSp modSp add">
        <pc:chgData name="Christian Reile" userId="0b7e6988-e521-4a1e-900b-efd6b80549e1" providerId="ADAL" clId="{A1DA0570-4E03-4A15-AB9A-1B76EFA91AF1}" dt="2025-04-22T10:18:17.864" v="99" actId="20577"/>
        <pc:sldMkLst>
          <pc:docMk/>
          <pc:sldMk cId="1314778286" sldId="668"/>
        </pc:sldMkLst>
      </pc:sldChg>
      <pc:sldChg chg="addSp modSp add">
        <pc:chgData name="Christian Reile" userId="0b7e6988-e521-4a1e-900b-efd6b80549e1" providerId="ADAL" clId="{A1DA0570-4E03-4A15-AB9A-1B76EFA91AF1}" dt="2025-04-22T10:18:47.146" v="155"/>
        <pc:sldMkLst>
          <pc:docMk/>
          <pc:sldMk cId="1086977521" sldId="669"/>
        </pc:sldMkLst>
      </pc:sldChg>
    </pc:docChg>
  </pc:docChgLst>
  <pc:docChgLst>
    <pc:chgData name="Frida Stähle" userId="737d0583-0f84-4afa-9d32-9dff97d0f705" providerId="ADAL" clId="{FDF6F29E-CDD5-4746-A592-8C55017E98B4}"/>
    <pc:docChg chg="modSld">
      <pc:chgData name="Frida Stähle" userId="737d0583-0f84-4afa-9d32-9dff97d0f705" providerId="ADAL" clId="{FDF6F29E-CDD5-4746-A592-8C55017E98B4}" dt="2025-04-22T13:43:03.443" v="22" actId="12"/>
      <pc:docMkLst>
        <pc:docMk/>
      </pc:docMkLst>
      <pc:sldChg chg="modSp modAnim">
        <pc:chgData name="Frida Stähle" userId="737d0583-0f84-4afa-9d32-9dff97d0f705" providerId="ADAL" clId="{FDF6F29E-CDD5-4746-A592-8C55017E98B4}" dt="2025-04-22T13:43:03.443" v="22" actId="12"/>
        <pc:sldMkLst>
          <pc:docMk/>
          <pc:sldMk cId="581652493" sldId="663"/>
        </pc:sldMkLst>
      </pc:sldChg>
    </pc:docChg>
  </pc:docChgLst>
  <pc:docChgLst>
    <pc:chgData name="Franz Seibold" userId="df3edf2f-3342-4456-80d3-fdc875e3af8c" providerId="ADAL" clId="{8F83EBFC-0C2F-484F-8242-EEFEACA3E648}"/>
    <pc:docChg chg="undo redo custSel addSld modSld">
      <pc:chgData name="Franz Seibold" userId="df3edf2f-3342-4456-80d3-fdc875e3af8c" providerId="ADAL" clId="{8F83EBFC-0C2F-484F-8242-EEFEACA3E648}" dt="2025-04-22T09:26:19.881" v="608" actId="14100"/>
      <pc:docMkLst>
        <pc:docMk/>
      </pc:docMkLst>
      <pc:sldChg chg="addSp delSp modSp modAnim">
        <pc:chgData name="Franz Seibold" userId="df3edf2f-3342-4456-80d3-fdc875e3af8c" providerId="ADAL" clId="{8F83EBFC-0C2F-484F-8242-EEFEACA3E648}" dt="2025-04-22T08:31:10.515" v="602" actId="1076"/>
        <pc:sldMkLst>
          <pc:docMk/>
          <pc:sldMk cId="46571281" sldId="654"/>
        </pc:sldMkLst>
      </pc:sldChg>
      <pc:sldChg chg="modSp add">
        <pc:chgData name="Franz Seibold" userId="df3edf2f-3342-4456-80d3-fdc875e3af8c" providerId="ADAL" clId="{8F83EBFC-0C2F-484F-8242-EEFEACA3E648}" dt="2025-04-22T09:26:19.881" v="608" actId="14100"/>
        <pc:sldMkLst>
          <pc:docMk/>
          <pc:sldMk cId="1194765832" sldId="659"/>
        </pc:sldMkLst>
      </pc:sldChg>
    </pc:docChg>
  </pc:docChgLst>
  <pc:docChgLst>
    <pc:chgData name="maurerh.tmb22" userId="7aa1423c-8795-49e0-8989-d53f8102476c" providerId="ADAL" clId="{958FD702-2FC3-43C0-A6BE-841FF2108ED9}"/>
    <pc:docChg chg="undo custSel addSld modSld">
      <pc:chgData name="maurerh.tmb22" userId="7aa1423c-8795-49e0-8989-d53f8102476c" providerId="ADAL" clId="{958FD702-2FC3-43C0-A6BE-841FF2108ED9}" dt="2025-04-01T12:21:36.436" v="549" actId="1076"/>
      <pc:docMkLst>
        <pc:docMk/>
      </pc:docMkLst>
      <pc:sldChg chg="addSp delSp modSp mod modClrScheme chgLayout">
        <pc:chgData name="maurerh.tmb22" userId="7aa1423c-8795-49e0-8989-d53f8102476c" providerId="ADAL" clId="{958FD702-2FC3-43C0-A6BE-841FF2108ED9}" dt="2025-04-01T11:28:21.499" v="328" actId="113"/>
        <pc:sldMkLst>
          <pc:docMk/>
          <pc:sldMk cId="3098618868" sldId="623"/>
        </pc:sldMkLst>
      </pc:sldChg>
      <pc:sldChg chg="modSp mod">
        <pc:chgData name="maurerh.tmb22" userId="7aa1423c-8795-49e0-8989-d53f8102476c" providerId="ADAL" clId="{958FD702-2FC3-43C0-A6BE-841FF2108ED9}" dt="2025-04-01T12:21:36.436" v="549" actId="1076"/>
        <pc:sldMkLst>
          <pc:docMk/>
          <pc:sldMk cId="1986987989" sldId="624"/>
        </pc:sldMkLst>
      </pc:sldChg>
      <pc:sldChg chg="addSp delSp modSp mod">
        <pc:chgData name="maurerh.tmb22" userId="7aa1423c-8795-49e0-8989-d53f8102476c" providerId="ADAL" clId="{958FD702-2FC3-43C0-A6BE-841FF2108ED9}" dt="2025-04-01T11:42:50.747" v="537" actId="20577"/>
        <pc:sldMkLst>
          <pc:docMk/>
          <pc:sldMk cId="3534934231" sldId="625"/>
        </pc:sldMkLst>
      </pc:sldChg>
      <pc:sldChg chg="modSp mod">
        <pc:chgData name="maurerh.tmb22" userId="7aa1423c-8795-49e0-8989-d53f8102476c" providerId="ADAL" clId="{958FD702-2FC3-43C0-A6BE-841FF2108ED9}" dt="2025-04-01T11:15:57.913" v="53" actId="20577"/>
        <pc:sldMkLst>
          <pc:docMk/>
          <pc:sldMk cId="2756117336" sldId="630"/>
        </pc:sldMkLst>
      </pc:sldChg>
      <pc:sldChg chg="addSp delSp modSp add mod">
        <pc:chgData name="maurerh.tmb22" userId="7aa1423c-8795-49e0-8989-d53f8102476c" providerId="ADAL" clId="{958FD702-2FC3-43C0-A6BE-841FF2108ED9}" dt="2025-04-01T11:59:29.238" v="544" actId="1076"/>
        <pc:sldMkLst>
          <pc:docMk/>
          <pc:sldMk cId="1433932889" sldId="636"/>
        </pc:sldMkLst>
      </pc:sldChg>
    </pc:docChg>
  </pc:docChgLst>
  <pc:docChgLst>
    <pc:chgData name="reilec.tmb22" userId="S::reilec.tmb22@student.dhbw-heidenheim.de::0b7e6988-e521-4a1e-900b-efd6b80549e1" providerId="AD" clId="Web-{012CFD02-61CF-B7F1-598C-B35834E48F8E}"/>
    <pc:docChg chg="addSld modSection">
      <pc:chgData name="reilec.tmb22" userId="S::reilec.tmb22@student.dhbw-heidenheim.de::0b7e6988-e521-4a1e-900b-efd6b80549e1" providerId="AD" clId="Web-{012CFD02-61CF-B7F1-598C-B35834E48F8E}" dt="2025-04-22T10:10:01.069" v="0"/>
      <pc:docMkLst>
        <pc:docMk/>
      </pc:docMkLst>
      <pc:sldChg chg="new">
        <pc:chgData name="reilec.tmb22" userId="S::reilec.tmb22@student.dhbw-heidenheim.de::0b7e6988-e521-4a1e-900b-efd6b80549e1" providerId="AD" clId="Web-{012CFD02-61CF-B7F1-598C-B35834E48F8E}" dt="2025-04-22T10:10:01.069" v="0"/>
        <pc:sldMkLst>
          <pc:docMk/>
          <pc:sldMk cId="2588153059" sldId="664"/>
        </pc:sldMkLst>
      </pc:sldChg>
    </pc:docChg>
  </pc:docChgLst>
  <pc:docChgLst>
    <pc:chgData name="seiboldf.tmb22" userId="S::seiboldf.tmb22@student.dhbw-heidenheim.de::df3edf2f-3342-4456-80d3-fdc875e3af8c" providerId="AD" clId="Web-{4D5BE70A-02A8-EA95-BACD-9BF56105000F}"/>
    <pc:docChg chg="addSld modSld sldOrd modSection">
      <pc:chgData name="seiboldf.tmb22" userId="S::seiboldf.tmb22@student.dhbw-heidenheim.de::df3edf2f-3342-4456-80d3-fdc875e3af8c" providerId="AD" clId="Web-{4D5BE70A-02A8-EA95-BACD-9BF56105000F}" dt="2025-04-22T07:17:38.944" v="436"/>
      <pc:docMkLst>
        <pc:docMk/>
      </pc:docMkLst>
      <pc:sldChg chg="modSp">
        <pc:chgData name="seiboldf.tmb22" userId="S::seiboldf.tmb22@student.dhbw-heidenheim.de::df3edf2f-3342-4456-80d3-fdc875e3af8c" providerId="AD" clId="Web-{4D5BE70A-02A8-EA95-BACD-9BF56105000F}" dt="2025-04-22T07:12:21.749" v="428" actId="20577"/>
        <pc:sldMkLst>
          <pc:docMk/>
          <pc:sldMk cId="1339647628" sldId="586"/>
        </pc:sldMkLst>
      </pc:sldChg>
      <pc:sldChg chg="modSp">
        <pc:chgData name="seiboldf.tmb22" userId="S::seiboldf.tmb22@student.dhbw-heidenheim.de::df3edf2f-3342-4456-80d3-fdc875e3af8c" providerId="AD" clId="Web-{4D5BE70A-02A8-EA95-BACD-9BF56105000F}" dt="2025-04-22T07:12:16.702" v="427" actId="20577"/>
        <pc:sldMkLst>
          <pc:docMk/>
          <pc:sldMk cId="241794236" sldId="643"/>
        </pc:sldMkLst>
      </pc:sldChg>
      <pc:sldChg chg="modSp">
        <pc:chgData name="seiboldf.tmb22" userId="S::seiboldf.tmb22@student.dhbw-heidenheim.de::df3edf2f-3342-4456-80d3-fdc875e3af8c" providerId="AD" clId="Web-{4D5BE70A-02A8-EA95-BACD-9BF56105000F}" dt="2025-04-22T07:12:06.608" v="425" actId="20577"/>
        <pc:sldMkLst>
          <pc:docMk/>
          <pc:sldMk cId="3763831896" sldId="644"/>
        </pc:sldMkLst>
      </pc:sldChg>
      <pc:sldChg chg="modSp">
        <pc:chgData name="seiboldf.tmb22" userId="S::seiboldf.tmb22@student.dhbw-heidenheim.de::df3edf2f-3342-4456-80d3-fdc875e3af8c" providerId="AD" clId="Web-{4D5BE70A-02A8-EA95-BACD-9BF56105000F}" dt="2025-04-22T07:12:09.451" v="426" actId="20577"/>
        <pc:sldMkLst>
          <pc:docMk/>
          <pc:sldMk cId="3419869914" sldId="645"/>
        </pc:sldMkLst>
      </pc:sldChg>
      <pc:sldChg chg="modSp">
        <pc:chgData name="seiboldf.tmb22" userId="S::seiboldf.tmb22@student.dhbw-heidenheim.de::df3edf2f-3342-4456-80d3-fdc875e3af8c" providerId="AD" clId="Web-{4D5BE70A-02A8-EA95-BACD-9BF56105000F}" dt="2025-04-22T07:12:02.061" v="424" actId="20577"/>
        <pc:sldMkLst>
          <pc:docMk/>
          <pc:sldMk cId="3408027728" sldId="646"/>
        </pc:sldMkLst>
      </pc:sldChg>
      <pc:sldChg chg="modSp new ord">
        <pc:chgData name="seiboldf.tmb22" userId="S::seiboldf.tmb22@student.dhbw-heidenheim.de::df3edf2f-3342-4456-80d3-fdc875e3af8c" providerId="AD" clId="Web-{4D5BE70A-02A8-EA95-BACD-9BF56105000F}" dt="2025-04-22T07:11:43.107" v="423" actId="20577"/>
        <pc:sldMkLst>
          <pc:docMk/>
          <pc:sldMk cId="3388882345" sldId="652"/>
        </pc:sldMkLst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2:40.594" v="362" actId="20577"/>
        <pc:sldMkLst>
          <pc:docMk/>
          <pc:sldMk cId="1165364471" sldId="653"/>
        </pc:sldMkLst>
      </pc:sldChg>
      <pc:sldChg chg="delSp modSp add replId">
        <pc:chgData name="seiboldf.tmb22" userId="S::seiboldf.tmb22@student.dhbw-heidenheim.de::df3edf2f-3342-4456-80d3-fdc875e3af8c" providerId="AD" clId="Web-{4D5BE70A-02A8-EA95-BACD-9BF56105000F}" dt="2025-04-22T07:17:38.944" v="436"/>
        <pc:sldMkLst>
          <pc:docMk/>
          <pc:sldMk cId="46571281" sldId="654"/>
        </pc:sldMkLst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2:56.110" v="374" actId="20577"/>
        <pc:sldMkLst>
          <pc:docMk/>
          <pc:sldMk cId="2121743425" sldId="655"/>
        </pc:sldMkLst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3:38.611" v="417" actId="20577"/>
        <pc:sldMkLst>
          <pc:docMk/>
          <pc:sldMk cId="3452969880" sldId="656"/>
        </pc:sldMkLst>
      </pc:sldChg>
    </pc:docChg>
  </pc:docChgLst>
  <pc:docChgLst>
    <pc:chgData name="seiboldf.tmb22" userId="df3edf2f-3342-4456-80d3-fdc875e3af8c" providerId="ADAL" clId="{D3DF06ED-BE85-43D1-9D95-F20A3CAA1FB8}"/>
    <pc:docChg chg="custSel addSld delSld modSld sldOrd modSection">
      <pc:chgData name="seiboldf.tmb22" userId="df3edf2f-3342-4456-80d3-fdc875e3af8c" providerId="ADAL" clId="{D3DF06ED-BE85-43D1-9D95-F20A3CAA1FB8}" dt="2025-04-01T11:56:31.920" v="239"/>
      <pc:docMkLst>
        <pc:docMk/>
      </pc:docMkLst>
      <pc:sldChg chg="delSp modSp mod">
        <pc:chgData name="seiboldf.tmb22" userId="df3edf2f-3342-4456-80d3-fdc875e3af8c" providerId="ADAL" clId="{D3DF06ED-BE85-43D1-9D95-F20A3CAA1FB8}" dt="2025-04-01T11:36:49.584" v="10" actId="1076"/>
        <pc:sldMkLst>
          <pc:docMk/>
          <pc:sldMk cId="1339647628" sldId="586"/>
        </pc:sldMkLst>
      </pc:sldChg>
      <pc:sldChg chg="modSp mod">
        <pc:chgData name="seiboldf.tmb22" userId="df3edf2f-3342-4456-80d3-fdc875e3af8c" providerId="ADAL" clId="{D3DF06ED-BE85-43D1-9D95-F20A3CAA1FB8}" dt="2025-04-01T11:54:55.158" v="237" actId="20577"/>
        <pc:sldMkLst>
          <pc:docMk/>
          <pc:sldMk cId="3534934231" sldId="625"/>
        </pc:sldMkLst>
      </pc:sldChg>
      <pc:sldChg chg="modSp mod">
        <pc:chgData name="seiboldf.tmb22" userId="df3edf2f-3342-4456-80d3-fdc875e3af8c" providerId="ADAL" clId="{D3DF06ED-BE85-43D1-9D95-F20A3CAA1FB8}" dt="2025-04-01T11:49:39.108" v="26" actId="20577"/>
        <pc:sldMkLst>
          <pc:docMk/>
          <pc:sldMk cId="2756117336" sldId="630"/>
        </pc:sldMkLst>
      </pc:sldChg>
      <pc:sldChg chg="ord">
        <pc:chgData name="seiboldf.tmb22" userId="df3edf2f-3342-4456-80d3-fdc875e3af8c" providerId="ADAL" clId="{D3DF06ED-BE85-43D1-9D95-F20A3CAA1FB8}" dt="2025-04-01T11:56:31.920" v="239"/>
        <pc:sldMkLst>
          <pc:docMk/>
          <pc:sldMk cId="52686789" sldId="631"/>
        </pc:sldMkLst>
      </pc:sldChg>
      <pc:sldChg chg="delSp modSp add mod">
        <pc:chgData name="seiboldf.tmb22" userId="df3edf2f-3342-4456-80d3-fdc875e3af8c" providerId="ADAL" clId="{D3DF06ED-BE85-43D1-9D95-F20A3CAA1FB8}" dt="2025-04-01T11:49:49.895" v="37" actId="20577"/>
        <pc:sldMkLst>
          <pc:docMk/>
          <pc:sldMk cId="3905572149" sldId="633"/>
        </pc:sldMkLst>
      </pc:sldChg>
      <pc:sldChg chg="modSp add mod">
        <pc:chgData name="seiboldf.tmb22" userId="df3edf2f-3342-4456-80d3-fdc875e3af8c" providerId="ADAL" clId="{D3DF06ED-BE85-43D1-9D95-F20A3CAA1FB8}" dt="2025-04-01T11:49:55.813" v="48" actId="20577"/>
        <pc:sldMkLst>
          <pc:docMk/>
          <pc:sldMk cId="3525816418" sldId="634"/>
        </pc:sldMkLst>
      </pc:sldChg>
      <pc:sldChg chg="addSp delSp modSp add mod">
        <pc:chgData name="seiboldf.tmb22" userId="df3edf2f-3342-4456-80d3-fdc875e3af8c" providerId="ADAL" clId="{D3DF06ED-BE85-43D1-9D95-F20A3CAA1FB8}" dt="2025-04-01T11:52:10.500" v="90" actId="1076"/>
        <pc:sldMkLst>
          <pc:docMk/>
          <pc:sldMk cId="568729345" sldId="635"/>
        </pc:sldMkLst>
      </pc:sldChg>
    </pc:docChg>
  </pc:docChgLst>
  <pc:docChgLst>
    <pc:chgData name="reilec.tmb22" userId="S::reilec.tmb22@student.dhbw-heidenheim.de::0b7e6988-e521-4a1e-900b-efd6b80549e1" providerId="AD" clId="Web-{DDF3A5F6-3BD3-F55D-6A82-A0158D171AB7}"/>
    <pc:docChg chg="delSld modSld modSection">
      <pc:chgData name="reilec.tmb22" userId="S::reilec.tmb22@student.dhbw-heidenheim.de::0b7e6988-e521-4a1e-900b-efd6b80549e1" providerId="AD" clId="Web-{DDF3A5F6-3BD3-F55D-6A82-A0158D171AB7}" dt="2025-06-09T19:58:22.692" v="2" actId="1076"/>
      <pc:docMkLst>
        <pc:docMk/>
      </pc:docMkLst>
      <pc:sldChg chg="modSp">
        <pc:chgData name="reilec.tmb22" userId="S::reilec.tmb22@student.dhbw-heidenheim.de::0b7e6988-e521-4a1e-900b-efd6b80549e1" providerId="AD" clId="Web-{DDF3A5F6-3BD3-F55D-6A82-A0158D171AB7}" dt="2025-06-09T19:58:22.692" v="2" actId="1076"/>
        <pc:sldMkLst>
          <pc:docMk/>
          <pc:sldMk cId="3664439336" sldId="262"/>
        </pc:sldMkLst>
        <pc:picChg chg="mod ord">
          <ac:chgData name="reilec.tmb22" userId="S::reilec.tmb22@student.dhbw-heidenheim.de::0b7e6988-e521-4a1e-900b-efd6b80549e1" providerId="AD" clId="Web-{DDF3A5F6-3BD3-F55D-6A82-A0158D171AB7}" dt="2025-06-09T19:58:22.692" v="2" actId="1076"/>
          <ac:picMkLst>
            <pc:docMk/>
            <pc:sldMk cId="3664439336" sldId="262"/>
            <ac:picMk id="9" creationId="{3A07768B-93B0-C166-FD21-A24D61D93A54}"/>
          </ac:picMkLst>
        </pc:picChg>
      </pc:sldChg>
      <pc:sldChg chg="del">
        <pc:chgData name="reilec.tmb22" userId="S::reilec.tmb22@student.dhbw-heidenheim.de::0b7e6988-e521-4a1e-900b-efd6b80549e1" providerId="AD" clId="Web-{DDF3A5F6-3BD3-F55D-6A82-A0158D171AB7}" dt="2025-06-09T19:52:50.887" v="0"/>
        <pc:sldMkLst>
          <pc:docMk/>
          <pc:sldMk cId="2952675275" sldId="692"/>
        </pc:sldMkLst>
      </pc:sldChg>
    </pc:docChg>
  </pc:docChgLst>
  <pc:docChgLst>
    <pc:chgData name="bullingerm.tmt22" userId="S::bullingerm.tmt22@student.dhbw-heidenheim.de::9ce3b8b2-035f-4175-b301-998b03a50e38" providerId="AD" clId="Web-{F2BE7605-B8FE-FDFB-2E3A-A835A235D5A8}"/>
    <pc:docChg chg="modSld">
      <pc:chgData name="bullingerm.tmt22" userId="S::bullingerm.tmt22@student.dhbw-heidenheim.de::9ce3b8b2-035f-4175-b301-998b03a50e38" providerId="AD" clId="Web-{F2BE7605-B8FE-FDFB-2E3A-A835A235D5A8}" dt="2025-04-22T09:32:35.106" v="1" actId="14100"/>
      <pc:docMkLst>
        <pc:docMk/>
      </pc:docMkLst>
      <pc:sldChg chg="modSp">
        <pc:chgData name="bullingerm.tmt22" userId="S::bullingerm.tmt22@student.dhbw-heidenheim.de::9ce3b8b2-035f-4175-b301-998b03a50e38" providerId="AD" clId="Web-{F2BE7605-B8FE-FDFB-2E3A-A835A235D5A8}" dt="2025-04-22T09:32:35.106" v="1" actId="14100"/>
        <pc:sldMkLst>
          <pc:docMk/>
          <pc:sldMk cId="46571281" sldId="654"/>
        </pc:sldMkLst>
      </pc:sldChg>
    </pc:docChg>
  </pc:docChgLst>
  <pc:docChgLst>
    <pc:chgData name="haeberlea.tmb22" userId="e23f6701-6707-4a4b-a757-e56ad2eaf1e8" providerId="ADAL" clId="{F7A488BB-D29B-42F1-8196-84BC382C2E97}"/>
    <pc:docChg chg="undo custSel addSld delSld modSld modSection">
      <pc:chgData name="haeberlea.tmb22" userId="e23f6701-6707-4a4b-a757-e56ad2eaf1e8" providerId="ADAL" clId="{F7A488BB-D29B-42F1-8196-84BC382C2E97}" dt="2025-06-09T22:24:29.912" v="1087" actId="207"/>
      <pc:docMkLst>
        <pc:docMk/>
      </pc:docMkLst>
      <pc:sldChg chg="modSp mod">
        <pc:chgData name="haeberlea.tmb22" userId="e23f6701-6707-4a4b-a757-e56ad2eaf1e8" providerId="ADAL" clId="{F7A488BB-D29B-42F1-8196-84BC382C2E97}" dt="2025-06-09T19:53:59.287" v="915" actId="1076"/>
        <pc:sldMkLst>
          <pc:docMk/>
          <pc:sldMk cId="3141788730" sldId="665"/>
        </pc:sldMkLst>
        <pc:spChg chg="mod">
          <ac:chgData name="haeberlea.tmb22" userId="e23f6701-6707-4a4b-a757-e56ad2eaf1e8" providerId="ADAL" clId="{F7A488BB-D29B-42F1-8196-84BC382C2E97}" dt="2025-06-09T19:53:59.287" v="915" actId="1076"/>
          <ac:spMkLst>
            <pc:docMk/>
            <pc:sldMk cId="3141788730" sldId="665"/>
            <ac:spMk id="7" creationId="{AFCE89D9-849E-F028-7BE9-A9187E0A5535}"/>
          </ac:spMkLst>
        </pc:spChg>
        <pc:picChg chg="mod">
          <ac:chgData name="haeberlea.tmb22" userId="e23f6701-6707-4a4b-a757-e56ad2eaf1e8" providerId="ADAL" clId="{F7A488BB-D29B-42F1-8196-84BC382C2E97}" dt="2025-06-09T19:53:55.745" v="914" actId="1076"/>
          <ac:picMkLst>
            <pc:docMk/>
            <pc:sldMk cId="3141788730" sldId="665"/>
            <ac:picMk id="8" creationId="{82261F73-7152-A373-CF8C-6D6F1F4B9DF8}"/>
          </ac:picMkLst>
        </pc:picChg>
      </pc:sldChg>
      <pc:sldChg chg="del">
        <pc:chgData name="haeberlea.tmb22" userId="e23f6701-6707-4a4b-a757-e56ad2eaf1e8" providerId="ADAL" clId="{F7A488BB-D29B-42F1-8196-84BC382C2E97}" dt="2025-06-09T19:47:04.365" v="864" actId="2696"/>
        <pc:sldMkLst>
          <pc:docMk/>
          <pc:sldMk cId="3315224854" sldId="698"/>
        </pc:sldMkLst>
      </pc:sldChg>
      <pc:sldChg chg="modSp mod">
        <pc:chgData name="haeberlea.tmb22" userId="e23f6701-6707-4a4b-a757-e56ad2eaf1e8" providerId="ADAL" clId="{F7A488BB-D29B-42F1-8196-84BC382C2E97}" dt="2025-06-09T19:42:40.697" v="846" actId="1076"/>
        <pc:sldMkLst>
          <pc:docMk/>
          <pc:sldMk cId="3471872623" sldId="705"/>
        </pc:sldMkLst>
        <pc:spChg chg="mod">
          <ac:chgData name="haeberlea.tmb22" userId="e23f6701-6707-4a4b-a757-e56ad2eaf1e8" providerId="ADAL" clId="{F7A488BB-D29B-42F1-8196-84BC382C2E97}" dt="2025-06-09T19:42:40.697" v="846" actId="1076"/>
          <ac:spMkLst>
            <pc:docMk/>
            <pc:sldMk cId="3471872623" sldId="705"/>
            <ac:spMk id="5" creationId="{AE81C354-6838-579A-593B-2029A034F49D}"/>
          </ac:spMkLst>
        </pc:spChg>
      </pc:sldChg>
      <pc:sldChg chg="modSp mod">
        <pc:chgData name="haeberlea.tmb22" userId="e23f6701-6707-4a4b-a757-e56ad2eaf1e8" providerId="ADAL" clId="{F7A488BB-D29B-42F1-8196-84BC382C2E97}" dt="2025-06-09T19:59:10.593" v="930" actId="1036"/>
        <pc:sldMkLst>
          <pc:docMk/>
          <pc:sldMk cId="2966888626" sldId="706"/>
        </pc:sldMkLst>
        <pc:spChg chg="mod">
          <ac:chgData name="haeberlea.tmb22" userId="e23f6701-6707-4a4b-a757-e56ad2eaf1e8" providerId="ADAL" clId="{F7A488BB-D29B-42F1-8196-84BC382C2E97}" dt="2025-06-09T19:59:10.593" v="930" actId="1036"/>
          <ac:spMkLst>
            <pc:docMk/>
            <pc:sldMk cId="2966888626" sldId="706"/>
            <ac:spMk id="3" creationId="{8ABB1F6D-17F4-3FCC-12B9-74F3C58EC6C5}"/>
          </ac:spMkLst>
        </pc:spChg>
      </pc:sldChg>
      <pc:sldChg chg="modSp mod">
        <pc:chgData name="haeberlea.tmb22" userId="e23f6701-6707-4a4b-a757-e56ad2eaf1e8" providerId="ADAL" clId="{F7A488BB-D29B-42F1-8196-84BC382C2E97}" dt="2025-06-09T19:41:22.258" v="844" actId="1076"/>
        <pc:sldMkLst>
          <pc:docMk/>
          <pc:sldMk cId="392917613" sldId="709"/>
        </pc:sldMkLst>
        <pc:spChg chg="mod">
          <ac:chgData name="haeberlea.tmb22" userId="e23f6701-6707-4a4b-a757-e56ad2eaf1e8" providerId="ADAL" clId="{F7A488BB-D29B-42F1-8196-84BC382C2E97}" dt="2025-06-09T19:41:22.258" v="844" actId="1076"/>
          <ac:spMkLst>
            <pc:docMk/>
            <pc:sldMk cId="392917613" sldId="709"/>
            <ac:spMk id="42" creationId="{30EA1363-FF79-AF7C-E2A9-C988ED8D2F8D}"/>
          </ac:spMkLst>
        </pc:spChg>
      </pc:sldChg>
      <pc:sldChg chg="modSp mod">
        <pc:chgData name="haeberlea.tmb22" userId="e23f6701-6707-4a4b-a757-e56ad2eaf1e8" providerId="ADAL" clId="{F7A488BB-D29B-42F1-8196-84BC382C2E97}" dt="2025-06-09T19:39:54.473" v="841" actId="14100"/>
        <pc:sldMkLst>
          <pc:docMk/>
          <pc:sldMk cId="4257729480" sldId="712"/>
        </pc:sldMkLst>
        <pc:spChg chg="mod">
          <ac:chgData name="haeberlea.tmb22" userId="e23f6701-6707-4a4b-a757-e56ad2eaf1e8" providerId="ADAL" clId="{F7A488BB-D29B-42F1-8196-84BC382C2E97}" dt="2025-06-09T19:39:54.473" v="841" actId="14100"/>
          <ac:spMkLst>
            <pc:docMk/>
            <pc:sldMk cId="4257729480" sldId="712"/>
            <ac:spMk id="10" creationId="{0B3E1046-7449-9EDF-C962-9CE977204EB6}"/>
          </ac:spMkLst>
        </pc:spChg>
      </pc:sldChg>
      <pc:sldChg chg="modSp mod">
        <pc:chgData name="haeberlea.tmb22" userId="e23f6701-6707-4a4b-a757-e56ad2eaf1e8" providerId="ADAL" clId="{F7A488BB-D29B-42F1-8196-84BC382C2E97}" dt="2025-06-09T19:37:56.823" v="836" actId="1076"/>
        <pc:sldMkLst>
          <pc:docMk/>
          <pc:sldMk cId="3383276389" sldId="714"/>
        </pc:sldMkLst>
        <pc:spChg chg="mod">
          <ac:chgData name="haeberlea.tmb22" userId="e23f6701-6707-4a4b-a757-e56ad2eaf1e8" providerId="ADAL" clId="{F7A488BB-D29B-42F1-8196-84BC382C2E97}" dt="2025-06-09T19:37:56.823" v="836" actId="1076"/>
          <ac:spMkLst>
            <pc:docMk/>
            <pc:sldMk cId="3383276389" sldId="714"/>
            <ac:spMk id="4" creationId="{64F90D10-E54C-DBD3-BA32-E29439550E4A}"/>
          </ac:spMkLst>
        </pc:spChg>
      </pc:sldChg>
      <pc:sldChg chg="modSp mod">
        <pc:chgData name="haeberlea.tmb22" userId="e23f6701-6707-4a4b-a757-e56ad2eaf1e8" providerId="ADAL" clId="{F7A488BB-D29B-42F1-8196-84BC382C2E97}" dt="2025-06-09T19:43:49.699" v="847" actId="2710"/>
        <pc:sldMkLst>
          <pc:docMk/>
          <pc:sldMk cId="573493541" sldId="718"/>
        </pc:sldMkLst>
        <pc:spChg chg="mod">
          <ac:chgData name="haeberlea.tmb22" userId="e23f6701-6707-4a4b-a757-e56ad2eaf1e8" providerId="ADAL" clId="{F7A488BB-D29B-42F1-8196-84BC382C2E97}" dt="2025-06-09T19:43:49.699" v="847" actId="2710"/>
          <ac:spMkLst>
            <pc:docMk/>
            <pc:sldMk cId="573493541" sldId="718"/>
            <ac:spMk id="23" creationId="{087AF6F9-5C4E-2CEF-4533-43FDBDE4F74F}"/>
          </ac:spMkLst>
        </pc:spChg>
      </pc:sldChg>
      <pc:sldChg chg="modSp mod">
        <pc:chgData name="haeberlea.tmb22" userId="e23f6701-6707-4a4b-a757-e56ad2eaf1e8" providerId="ADAL" clId="{F7A488BB-D29B-42F1-8196-84BC382C2E97}" dt="2025-06-09T19:44:20.698" v="854" actId="123"/>
        <pc:sldMkLst>
          <pc:docMk/>
          <pc:sldMk cId="718428259" sldId="719"/>
        </pc:sldMkLst>
        <pc:spChg chg="mod">
          <ac:chgData name="haeberlea.tmb22" userId="e23f6701-6707-4a4b-a757-e56ad2eaf1e8" providerId="ADAL" clId="{F7A488BB-D29B-42F1-8196-84BC382C2E97}" dt="2025-06-09T19:44:20.698" v="854" actId="123"/>
          <ac:spMkLst>
            <pc:docMk/>
            <pc:sldMk cId="718428259" sldId="719"/>
            <ac:spMk id="14" creationId="{67AC16E2-EE59-F689-D843-5C90E62A678B}"/>
          </ac:spMkLst>
        </pc:spChg>
        <pc:picChg chg="mod">
          <ac:chgData name="haeberlea.tmb22" userId="e23f6701-6707-4a4b-a757-e56ad2eaf1e8" providerId="ADAL" clId="{F7A488BB-D29B-42F1-8196-84BC382C2E97}" dt="2025-06-09T19:44:07.999" v="851" actId="1076"/>
          <ac:picMkLst>
            <pc:docMk/>
            <pc:sldMk cId="718428259" sldId="719"/>
            <ac:picMk id="9" creationId="{947FDF0F-B4C5-AED8-98E7-EB58DE036E42}"/>
          </ac:picMkLst>
        </pc:picChg>
      </pc:sldChg>
      <pc:sldChg chg="modSp mod">
        <pc:chgData name="haeberlea.tmb22" userId="e23f6701-6707-4a4b-a757-e56ad2eaf1e8" providerId="ADAL" clId="{F7A488BB-D29B-42F1-8196-84BC382C2E97}" dt="2025-06-09T19:55:33.964" v="916" actId="688"/>
        <pc:sldMkLst>
          <pc:docMk/>
          <pc:sldMk cId="2087536745" sldId="720"/>
        </pc:sldMkLst>
        <pc:spChg chg="mod">
          <ac:chgData name="haeberlea.tmb22" userId="e23f6701-6707-4a4b-a757-e56ad2eaf1e8" providerId="ADAL" clId="{F7A488BB-D29B-42F1-8196-84BC382C2E97}" dt="2025-06-09T19:55:33.964" v="916" actId="688"/>
          <ac:spMkLst>
            <pc:docMk/>
            <pc:sldMk cId="2087536745" sldId="720"/>
            <ac:spMk id="4" creationId="{DE2DB5AD-C9F0-B6D8-8031-69F5806EC42C}"/>
          </ac:spMkLst>
        </pc:spChg>
        <pc:spChg chg="mod">
          <ac:chgData name="haeberlea.tmb22" userId="e23f6701-6707-4a4b-a757-e56ad2eaf1e8" providerId="ADAL" clId="{F7A488BB-D29B-42F1-8196-84BC382C2E97}" dt="2025-06-09T19:45:43.093" v="856" actId="2710"/>
          <ac:spMkLst>
            <pc:docMk/>
            <pc:sldMk cId="2087536745" sldId="720"/>
            <ac:spMk id="9" creationId="{7323E7AB-2CFD-E791-67AF-7ADCBA75D467}"/>
          </ac:spMkLst>
        </pc:spChg>
      </pc:sldChg>
      <pc:sldChg chg="delSp modSp mod">
        <pc:chgData name="haeberlea.tmb22" userId="e23f6701-6707-4a4b-a757-e56ad2eaf1e8" providerId="ADAL" clId="{F7A488BB-D29B-42F1-8196-84BC382C2E97}" dt="2025-06-09T22:10:56.156" v="978" actId="478"/>
        <pc:sldMkLst>
          <pc:docMk/>
          <pc:sldMk cId="1250413783" sldId="721"/>
        </pc:sldMkLst>
        <pc:spChg chg="mod">
          <ac:chgData name="haeberlea.tmb22" userId="e23f6701-6707-4a4b-a757-e56ad2eaf1e8" providerId="ADAL" clId="{F7A488BB-D29B-42F1-8196-84BC382C2E97}" dt="2025-06-09T20:05:37.096" v="969" actId="20577"/>
          <ac:spMkLst>
            <pc:docMk/>
            <pc:sldMk cId="1250413783" sldId="721"/>
            <ac:spMk id="9" creationId="{A8D23267-1844-D715-7652-4D95C7CC9B50}"/>
          </ac:spMkLst>
        </pc:spChg>
      </pc:sldChg>
      <pc:sldChg chg="addSp delSp modSp mod">
        <pc:chgData name="haeberlea.tmb22" userId="e23f6701-6707-4a4b-a757-e56ad2eaf1e8" providerId="ADAL" clId="{F7A488BB-D29B-42F1-8196-84BC382C2E97}" dt="2025-06-09T22:24:29.912" v="1087" actId="207"/>
        <pc:sldMkLst>
          <pc:docMk/>
          <pc:sldMk cId="3493767339" sldId="723"/>
        </pc:sldMkLst>
        <pc:spChg chg="mod">
          <ac:chgData name="haeberlea.tmb22" userId="e23f6701-6707-4a4b-a757-e56ad2eaf1e8" providerId="ADAL" clId="{F7A488BB-D29B-42F1-8196-84BC382C2E97}" dt="2025-06-09T22:24:29.912" v="1087" actId="207"/>
          <ac:spMkLst>
            <pc:docMk/>
            <pc:sldMk cId="3493767339" sldId="723"/>
            <ac:spMk id="2" creationId="{C903E41F-886A-044B-CBC2-911F3AAEE1A9}"/>
          </ac:spMkLst>
        </pc:spChg>
        <pc:spChg chg="add mod">
          <ac:chgData name="haeberlea.tmb22" userId="e23f6701-6707-4a4b-a757-e56ad2eaf1e8" providerId="ADAL" clId="{F7A488BB-D29B-42F1-8196-84BC382C2E97}" dt="2025-06-09T22:23:49.777" v="1085" actId="1076"/>
          <ac:spMkLst>
            <pc:docMk/>
            <pc:sldMk cId="3493767339" sldId="723"/>
            <ac:spMk id="10" creationId="{A0C393D2-8029-8D88-6567-C4479D820157}"/>
          </ac:spMkLst>
        </pc:spChg>
        <pc:spChg chg="add mod">
          <ac:chgData name="haeberlea.tmb22" userId="e23f6701-6707-4a4b-a757-e56ad2eaf1e8" providerId="ADAL" clId="{F7A488BB-D29B-42F1-8196-84BC382C2E97}" dt="2025-06-09T22:19:25.712" v="1065" actId="1076"/>
          <ac:spMkLst>
            <pc:docMk/>
            <pc:sldMk cId="3493767339" sldId="723"/>
            <ac:spMk id="11" creationId="{9D4C18FB-EF37-16DE-EA0D-48B810EB39DC}"/>
          </ac:spMkLst>
        </pc:spChg>
        <pc:picChg chg="add mod modCrop">
          <ac:chgData name="haeberlea.tmb22" userId="e23f6701-6707-4a4b-a757-e56ad2eaf1e8" providerId="ADAL" clId="{F7A488BB-D29B-42F1-8196-84BC382C2E97}" dt="2025-06-09T22:20:17.764" v="1077" actId="1076"/>
          <ac:picMkLst>
            <pc:docMk/>
            <pc:sldMk cId="3493767339" sldId="723"/>
            <ac:picMk id="7" creationId="{97F2DB1F-BB7E-E803-E856-1977161C694A}"/>
          </ac:picMkLst>
        </pc:picChg>
        <pc:picChg chg="add mod">
          <ac:chgData name="haeberlea.tmb22" userId="e23f6701-6707-4a4b-a757-e56ad2eaf1e8" providerId="ADAL" clId="{F7A488BB-D29B-42F1-8196-84BC382C2E97}" dt="2025-06-09T22:20:26.944" v="1079" actId="1076"/>
          <ac:picMkLst>
            <pc:docMk/>
            <pc:sldMk cId="3493767339" sldId="723"/>
            <ac:picMk id="9" creationId="{F93B7D2F-16A4-D559-8EE6-BA6022377D89}"/>
          </ac:picMkLst>
        </pc:picChg>
      </pc:sldChg>
      <pc:sldChg chg="modSp mod">
        <pc:chgData name="haeberlea.tmb22" userId="e23f6701-6707-4a4b-a757-e56ad2eaf1e8" providerId="ADAL" clId="{F7A488BB-D29B-42F1-8196-84BC382C2E97}" dt="2025-06-09T20:07:24.819" v="970" actId="732"/>
        <pc:sldMkLst>
          <pc:docMk/>
          <pc:sldMk cId="3479407819" sldId="725"/>
        </pc:sldMkLst>
        <pc:picChg chg="mod modCrop">
          <ac:chgData name="haeberlea.tmb22" userId="e23f6701-6707-4a4b-a757-e56ad2eaf1e8" providerId="ADAL" clId="{F7A488BB-D29B-42F1-8196-84BC382C2E97}" dt="2025-06-09T20:07:24.819" v="970" actId="732"/>
          <ac:picMkLst>
            <pc:docMk/>
            <pc:sldMk cId="3479407819" sldId="725"/>
            <ac:picMk id="9" creationId="{5BD6328D-5840-1ACE-5FDC-3AC710376195}"/>
          </ac:picMkLst>
        </pc:picChg>
      </pc:sldChg>
      <pc:sldChg chg="del">
        <pc:chgData name="haeberlea.tmb22" userId="e23f6701-6707-4a4b-a757-e56ad2eaf1e8" providerId="ADAL" clId="{F7A488BB-D29B-42F1-8196-84BC382C2E97}" dt="2025-06-09T18:13:22.567" v="637" actId="2696"/>
        <pc:sldMkLst>
          <pc:docMk/>
          <pc:sldMk cId="4156085801" sldId="726"/>
        </pc:sldMkLst>
      </pc:sldChg>
      <pc:sldChg chg="addSp delSp modSp mod">
        <pc:chgData name="haeberlea.tmb22" userId="e23f6701-6707-4a4b-a757-e56ad2eaf1e8" providerId="ADAL" clId="{F7A488BB-D29B-42F1-8196-84BC382C2E97}" dt="2025-06-09T19:57:11.956" v="923" actId="20577"/>
        <pc:sldMkLst>
          <pc:docMk/>
          <pc:sldMk cId="974613365" sldId="728"/>
        </pc:sldMkLst>
        <pc:spChg chg="mod">
          <ac:chgData name="haeberlea.tmb22" userId="e23f6701-6707-4a4b-a757-e56ad2eaf1e8" providerId="ADAL" clId="{F7A488BB-D29B-42F1-8196-84BC382C2E97}" dt="2025-06-09T17:39:11.150" v="10" actId="1076"/>
          <ac:spMkLst>
            <pc:docMk/>
            <pc:sldMk cId="974613365" sldId="728"/>
            <ac:spMk id="11" creationId="{47CAC802-A666-FE47-7B4C-50B0CEEAADD2}"/>
          </ac:spMkLst>
        </pc:spChg>
        <pc:spChg chg="mod">
          <ac:chgData name="haeberlea.tmb22" userId="e23f6701-6707-4a4b-a757-e56ad2eaf1e8" providerId="ADAL" clId="{F7A488BB-D29B-42F1-8196-84BC382C2E97}" dt="2025-06-09T17:39:11.150" v="10" actId="1076"/>
          <ac:spMkLst>
            <pc:docMk/>
            <pc:sldMk cId="974613365" sldId="728"/>
            <ac:spMk id="13" creationId="{41A8D84F-4BB9-94B9-859F-14F3109A81F2}"/>
          </ac:spMkLst>
        </pc:spChg>
        <pc:spChg chg="mod">
          <ac:chgData name="haeberlea.tmb22" userId="e23f6701-6707-4a4b-a757-e56ad2eaf1e8" providerId="ADAL" clId="{F7A488BB-D29B-42F1-8196-84BC382C2E97}" dt="2025-06-09T17:39:11.150" v="10" actId="1076"/>
          <ac:spMkLst>
            <pc:docMk/>
            <pc:sldMk cId="974613365" sldId="728"/>
            <ac:spMk id="14" creationId="{64181BC0-14B3-2C27-39F8-239C80A24CC9}"/>
          </ac:spMkLst>
        </pc:spChg>
        <pc:spChg chg="add mod">
          <ac:chgData name="haeberlea.tmb22" userId="e23f6701-6707-4a4b-a757-e56ad2eaf1e8" providerId="ADAL" clId="{F7A488BB-D29B-42F1-8196-84BC382C2E97}" dt="2025-06-09T19:57:11.956" v="923" actId="20577"/>
          <ac:spMkLst>
            <pc:docMk/>
            <pc:sldMk cId="974613365" sldId="728"/>
            <ac:spMk id="16" creationId="{333FC264-8C29-742C-B7E8-ED96C8A84D81}"/>
          </ac:spMkLst>
        </pc:spChg>
        <pc:spChg chg="add mod">
          <ac:chgData name="haeberlea.tmb22" userId="e23f6701-6707-4a4b-a757-e56ad2eaf1e8" providerId="ADAL" clId="{F7A488BB-D29B-42F1-8196-84BC382C2E97}" dt="2025-06-09T18:30:21.952" v="831" actId="1076"/>
          <ac:spMkLst>
            <pc:docMk/>
            <pc:sldMk cId="974613365" sldId="728"/>
            <ac:spMk id="21" creationId="{BAC46B24-8EFA-0998-D00C-4CE0D62141A0}"/>
          </ac:spMkLst>
        </pc:spChg>
        <pc:spChg chg="add mod">
          <ac:chgData name="haeberlea.tmb22" userId="e23f6701-6707-4a4b-a757-e56ad2eaf1e8" providerId="ADAL" clId="{F7A488BB-D29B-42F1-8196-84BC382C2E97}" dt="2025-06-09T18:30:21.952" v="831" actId="1076"/>
          <ac:spMkLst>
            <pc:docMk/>
            <pc:sldMk cId="974613365" sldId="728"/>
            <ac:spMk id="22" creationId="{E999FE7E-A979-80AF-4DB9-8ACF272D2EFE}"/>
          </ac:spMkLst>
        </pc:spChg>
        <pc:spChg chg="add mod">
          <ac:chgData name="haeberlea.tmb22" userId="e23f6701-6707-4a4b-a757-e56ad2eaf1e8" providerId="ADAL" clId="{F7A488BB-D29B-42F1-8196-84BC382C2E97}" dt="2025-06-09T18:30:21.952" v="831" actId="1076"/>
          <ac:spMkLst>
            <pc:docMk/>
            <pc:sldMk cId="974613365" sldId="728"/>
            <ac:spMk id="23" creationId="{5065C9DD-33BF-A92F-2CE9-397CC2B8F40B}"/>
          </ac:spMkLst>
        </pc:spChg>
        <pc:picChg chg="add mod ord">
          <ac:chgData name="haeberlea.tmb22" userId="e23f6701-6707-4a4b-a757-e56ad2eaf1e8" providerId="ADAL" clId="{F7A488BB-D29B-42F1-8196-84BC382C2E97}" dt="2025-06-09T17:37:30.967" v="7" actId="1076"/>
          <ac:picMkLst>
            <pc:docMk/>
            <pc:sldMk cId="974613365" sldId="728"/>
            <ac:picMk id="9" creationId="{802E0F82-F253-A8F9-9346-69525FCC0123}"/>
          </ac:picMkLst>
        </pc:picChg>
        <pc:cxnChg chg="mod">
          <ac:chgData name="haeberlea.tmb22" userId="e23f6701-6707-4a4b-a757-e56ad2eaf1e8" providerId="ADAL" clId="{F7A488BB-D29B-42F1-8196-84BC382C2E97}" dt="2025-06-09T17:40:13.168" v="16" actId="1076"/>
          <ac:cxnSpMkLst>
            <pc:docMk/>
            <pc:sldMk cId="974613365" sldId="728"/>
            <ac:cxnSpMk id="15" creationId="{62635084-B028-B537-CB37-3C7333C10420}"/>
          </ac:cxnSpMkLst>
        </pc:cxnChg>
        <pc:cxnChg chg="add mod">
          <ac:chgData name="haeberlea.tmb22" userId="e23f6701-6707-4a4b-a757-e56ad2eaf1e8" providerId="ADAL" clId="{F7A488BB-D29B-42F1-8196-84BC382C2E97}" dt="2025-06-09T18:30:25.488" v="832" actId="1076"/>
          <ac:cxnSpMkLst>
            <pc:docMk/>
            <pc:sldMk cId="974613365" sldId="728"/>
            <ac:cxnSpMk id="24" creationId="{767E0C59-AA40-44D7-D845-A215739DE582}"/>
          </ac:cxnSpMkLst>
        </pc:cxnChg>
      </pc:sldChg>
      <pc:sldChg chg="addSp delSp modSp new mod">
        <pc:chgData name="haeberlea.tmb22" userId="e23f6701-6707-4a4b-a757-e56ad2eaf1e8" providerId="ADAL" clId="{F7A488BB-D29B-42F1-8196-84BC382C2E97}" dt="2025-06-09T20:14:43.818" v="977" actId="20577"/>
        <pc:sldMkLst>
          <pc:docMk/>
          <pc:sldMk cId="70279032" sldId="729"/>
        </pc:sldMkLst>
        <pc:spChg chg="mod">
          <ac:chgData name="haeberlea.tmb22" userId="e23f6701-6707-4a4b-a757-e56ad2eaf1e8" providerId="ADAL" clId="{F7A488BB-D29B-42F1-8196-84BC382C2E97}" dt="2025-06-09T17:59:43.699" v="554"/>
          <ac:spMkLst>
            <pc:docMk/>
            <pc:sldMk cId="70279032" sldId="729"/>
            <ac:spMk id="2" creationId="{21ACD875-9CE5-6D68-1C6B-214EC0B34B12}"/>
          </ac:spMkLst>
        </pc:spChg>
        <pc:spChg chg="mod">
          <ac:chgData name="haeberlea.tmb22" userId="e23f6701-6707-4a4b-a757-e56ad2eaf1e8" providerId="ADAL" clId="{F7A488BB-D29B-42F1-8196-84BC382C2E97}" dt="2025-06-09T17:59:49.412" v="564" actId="20577"/>
          <ac:spMkLst>
            <pc:docMk/>
            <pc:sldMk cId="70279032" sldId="729"/>
            <ac:spMk id="3" creationId="{1B29CDB0-FAD4-B436-74BD-9B70878DF054}"/>
          </ac:spMkLst>
        </pc:spChg>
        <pc:spChg chg="mod">
          <ac:chgData name="haeberlea.tmb22" userId="e23f6701-6707-4a4b-a757-e56ad2eaf1e8" providerId="ADAL" clId="{F7A488BB-D29B-42F1-8196-84BC382C2E97}" dt="2025-06-09T20:14:43.818" v="977" actId="20577"/>
          <ac:spMkLst>
            <pc:docMk/>
            <pc:sldMk cId="70279032" sldId="729"/>
            <ac:spMk id="4" creationId="{74241462-B4F3-A3A6-4CD9-F1A178C4BCEE}"/>
          </ac:spMkLst>
        </pc:spChg>
        <pc:spChg chg="mod">
          <ac:chgData name="haeberlea.tmb22" userId="e23f6701-6707-4a4b-a757-e56ad2eaf1e8" providerId="ADAL" clId="{F7A488BB-D29B-42F1-8196-84BC382C2E97}" dt="2025-06-09T19:57:28.477" v="925" actId="1076"/>
          <ac:spMkLst>
            <pc:docMk/>
            <pc:sldMk cId="70279032" sldId="729"/>
            <ac:spMk id="5" creationId="{20F0F733-90AB-450E-5C56-573B0BF3ED6B}"/>
          </ac:spMkLst>
        </pc:spChg>
        <pc:spChg chg="add mod">
          <ac:chgData name="haeberlea.tmb22" userId="e23f6701-6707-4a4b-a757-e56ad2eaf1e8" providerId="ADAL" clId="{F7A488BB-D29B-42F1-8196-84BC382C2E97}" dt="2025-06-09T19:48:37.015" v="872" actId="1076"/>
          <ac:spMkLst>
            <pc:docMk/>
            <pc:sldMk cId="70279032" sldId="729"/>
            <ac:spMk id="10" creationId="{DFD46398-5C89-A7A1-4CC2-2B671B54BD91}"/>
          </ac:spMkLst>
        </pc:spChg>
        <pc:picChg chg="add mod modCrop">
          <ac:chgData name="haeberlea.tmb22" userId="e23f6701-6707-4a4b-a757-e56ad2eaf1e8" providerId="ADAL" clId="{F7A488BB-D29B-42F1-8196-84BC382C2E97}" dt="2025-06-09T19:48:31.529" v="871" actId="1076"/>
          <ac:picMkLst>
            <pc:docMk/>
            <pc:sldMk cId="70279032" sldId="729"/>
            <ac:picMk id="9" creationId="{2EA16DBD-DFC0-FF94-D8C4-5D83469BBF08}"/>
          </ac:picMkLst>
        </pc:picChg>
        <pc:picChg chg="add mod ord">
          <ac:chgData name="haeberlea.tmb22" userId="e23f6701-6707-4a4b-a757-e56ad2eaf1e8" providerId="ADAL" clId="{F7A488BB-D29B-42F1-8196-84BC382C2E97}" dt="2025-06-09T19:48:26.191" v="869" actId="167"/>
          <ac:picMkLst>
            <pc:docMk/>
            <pc:sldMk cId="70279032" sldId="729"/>
            <ac:picMk id="12" creationId="{94FB0865-0C33-F85C-A54E-88186FF3CCC3}"/>
          </ac:picMkLst>
        </pc:picChg>
        <pc:picChg chg="add mod">
          <ac:chgData name="haeberlea.tmb22" userId="e23f6701-6707-4a4b-a757-e56ad2eaf1e8" providerId="ADAL" clId="{F7A488BB-D29B-42F1-8196-84BC382C2E97}" dt="2025-06-09T19:48:13.927" v="866" actId="1076"/>
          <ac:picMkLst>
            <pc:docMk/>
            <pc:sldMk cId="70279032" sldId="729"/>
            <ac:picMk id="14" creationId="{6F8137F1-231D-B39D-7E23-037C96CBA7A8}"/>
          </ac:picMkLst>
        </pc:picChg>
      </pc:sldChg>
      <pc:sldChg chg="addSp delSp modSp new mod modAnim">
        <pc:chgData name="haeberlea.tmb22" userId="e23f6701-6707-4a4b-a757-e56ad2eaf1e8" providerId="ADAL" clId="{F7A488BB-D29B-42F1-8196-84BC382C2E97}" dt="2025-06-09T19:56:46.958" v="921" actId="478"/>
        <pc:sldMkLst>
          <pc:docMk/>
          <pc:sldMk cId="436690819" sldId="730"/>
        </pc:sldMkLst>
        <pc:spChg chg="mod">
          <ac:chgData name="haeberlea.tmb22" userId="e23f6701-6707-4a4b-a757-e56ad2eaf1e8" providerId="ADAL" clId="{F7A488BB-D29B-42F1-8196-84BC382C2E97}" dt="2025-06-09T18:18:45.854" v="639"/>
          <ac:spMkLst>
            <pc:docMk/>
            <pc:sldMk cId="436690819" sldId="730"/>
            <ac:spMk id="2" creationId="{9AA40945-EEC7-42DA-0DA6-DD3BCCEAAA1E}"/>
          </ac:spMkLst>
        </pc:spChg>
        <pc:spChg chg="mod">
          <ac:chgData name="haeberlea.tmb22" userId="e23f6701-6707-4a4b-a757-e56ad2eaf1e8" providerId="ADAL" clId="{F7A488BB-D29B-42F1-8196-84BC382C2E97}" dt="2025-06-09T18:18:51.204" v="649" actId="20577"/>
          <ac:spMkLst>
            <pc:docMk/>
            <pc:sldMk cId="436690819" sldId="730"/>
            <ac:spMk id="3" creationId="{02C42810-FFB7-02D9-9556-F2B08E1C331C}"/>
          </ac:spMkLst>
        </pc:spChg>
        <pc:spChg chg="add mod">
          <ac:chgData name="haeberlea.tmb22" userId="e23f6701-6707-4a4b-a757-e56ad2eaf1e8" providerId="ADAL" clId="{F7A488BB-D29B-42F1-8196-84BC382C2E97}" dt="2025-06-09T18:22:00.099" v="682" actId="1076"/>
          <ac:spMkLst>
            <pc:docMk/>
            <pc:sldMk cId="436690819" sldId="730"/>
            <ac:spMk id="12" creationId="{A4BBB439-3229-E7A3-EA39-CF94D8682BA6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4" creationId="{8E38516E-7A28-A4F4-7492-48249614E6C4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5" creationId="{5E78F75F-585E-945D-9683-0BE0969984E6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6" creationId="{C79A38CE-A9F5-832B-940F-20D030580FDC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7" creationId="{CD654730-1FA3-6060-978A-E000021A23BF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8" creationId="{AC90439C-396F-DD64-43D2-173175E6DD61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19" creationId="{9D704216-855B-C185-2D97-28CD98E5BF18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20" creationId="{7FBBB654-A206-BE4C-3522-819E662CF4A0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21" creationId="{14C5FDA8-3461-4F4A-E92E-AE2B0A571070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22" creationId="{B0F64A24-ADC2-9E18-595C-0EE488FFF1F9}"/>
          </ac:spMkLst>
        </pc:spChg>
        <pc:spChg chg="add mod">
          <ac:chgData name="haeberlea.tmb22" userId="e23f6701-6707-4a4b-a757-e56ad2eaf1e8" providerId="ADAL" clId="{F7A488BB-D29B-42F1-8196-84BC382C2E97}" dt="2025-06-09T18:23:14.755" v="691" actId="1076"/>
          <ac:spMkLst>
            <pc:docMk/>
            <pc:sldMk cId="436690819" sldId="730"/>
            <ac:spMk id="23" creationId="{825A5797-5168-1ED5-2AD4-214263248AF0}"/>
          </ac:spMkLst>
        </pc:spChg>
        <pc:picChg chg="add mod">
          <ac:chgData name="haeberlea.tmb22" userId="e23f6701-6707-4a4b-a757-e56ad2eaf1e8" providerId="ADAL" clId="{F7A488BB-D29B-42F1-8196-84BC382C2E97}" dt="2025-06-09T18:20:25.562" v="666" actId="1076"/>
          <ac:picMkLst>
            <pc:docMk/>
            <pc:sldMk cId="436690819" sldId="730"/>
            <ac:picMk id="7" creationId="{6985A03A-3A82-E128-A4E8-FA643EF57F32}"/>
          </ac:picMkLst>
        </pc:picChg>
        <pc:picChg chg="add mod">
          <ac:chgData name="haeberlea.tmb22" userId="e23f6701-6707-4a4b-a757-e56ad2eaf1e8" providerId="ADAL" clId="{F7A488BB-D29B-42F1-8196-84BC382C2E97}" dt="2025-06-09T18:20:26.960" v="667" actId="1076"/>
          <ac:picMkLst>
            <pc:docMk/>
            <pc:sldMk cId="436690819" sldId="730"/>
            <ac:picMk id="10" creationId="{5746ED62-054D-4033-2B5A-8DE4143E551C}"/>
          </ac:picMkLst>
        </pc:picChg>
      </pc:sldChg>
    </pc:docChg>
  </pc:docChgLst>
  <pc:docChgLst>
    <pc:chgData clId="Web-{EBC93C04-5607-AA2E-D91E-0FB1BE80CD95}"/>
    <pc:docChg chg="modSld">
      <pc:chgData name="" userId="" providerId="" clId="Web-{EBC93C04-5607-AA2E-D91E-0FB1BE80CD95}" dt="2025-06-09T16:55:29.347" v="0" actId="20577"/>
      <pc:docMkLst>
        <pc:docMk/>
      </pc:docMkLst>
      <pc:sldChg chg="modSp">
        <pc:chgData name="" userId="" providerId="" clId="Web-{EBC93C04-5607-AA2E-D91E-0FB1BE80CD95}" dt="2025-06-09T16:55:29.347" v="0" actId="20577"/>
        <pc:sldMkLst>
          <pc:docMk/>
          <pc:sldMk cId="3664439336" sldId="262"/>
        </pc:sldMkLst>
        <pc:spChg chg="mod">
          <ac:chgData name="" userId="" providerId="" clId="Web-{EBC93C04-5607-AA2E-D91E-0FB1BE80CD95}" dt="2025-06-09T16:55:29.347" v="0" actId="20577"/>
          <ac:spMkLst>
            <pc:docMk/>
            <pc:sldMk cId="3664439336" sldId="262"/>
            <ac:spMk id="14" creationId="{C0024835-3B3D-40D8-8601-9961D5A4F2F4}"/>
          </ac:spMkLst>
        </pc:spChg>
      </pc:sldChg>
    </pc:docChg>
  </pc:docChgLst>
  <pc:docChgLst>
    <pc:chgData name="reilec.tmb22" userId="S::reilec.tmb22@student.dhbw-heidenheim.de::0b7e6988-e521-4a1e-900b-efd6b80549e1" providerId="AD" clId="Web-{AA98C374-7A78-08E2-EF6B-2B7AF04A874A}"/>
    <pc:docChg chg="modSld">
      <pc:chgData name="reilec.tmb22" userId="S::reilec.tmb22@student.dhbw-heidenheim.de::0b7e6988-e521-4a1e-900b-efd6b80549e1" providerId="AD" clId="Web-{AA98C374-7A78-08E2-EF6B-2B7AF04A874A}" dt="2025-04-22T12:59:03.720" v="68" actId="20577"/>
      <pc:docMkLst>
        <pc:docMk/>
      </pc:docMkLst>
      <pc:sldChg chg="addSp delSp modSp">
        <pc:chgData name="reilec.tmb22" userId="S::reilec.tmb22@student.dhbw-heidenheim.de::0b7e6988-e521-4a1e-900b-efd6b80549e1" providerId="AD" clId="Web-{AA98C374-7A78-08E2-EF6B-2B7AF04A874A}" dt="2025-04-22T12:59:03.720" v="68" actId="20577"/>
        <pc:sldMkLst>
          <pc:docMk/>
          <pc:sldMk cId="1314778286" sldId="668"/>
        </pc:sldMkLst>
      </pc:sldChg>
    </pc:docChg>
  </pc:docChgLst>
  <pc:docChgLst>
    <pc:chgData name="bullingerm.tmt22" userId="S::bullingerm.tmt22@student.dhbw-heidenheim.de::9ce3b8b2-035f-4175-b301-998b03a50e38" providerId="AD" clId="Web-{CE6935EF-03B6-CEFA-2E2E-468AF0637301}"/>
    <pc:docChg chg="modSld">
      <pc:chgData name="bullingerm.tmt22" userId="S::bullingerm.tmt22@student.dhbw-heidenheim.de::9ce3b8b2-035f-4175-b301-998b03a50e38" providerId="AD" clId="Web-{CE6935EF-03B6-CEFA-2E2E-468AF0637301}" dt="2025-04-22T12:20:28.580" v="7"/>
      <pc:docMkLst>
        <pc:docMk/>
      </pc:docMkLst>
      <pc:sldChg chg="addSp delSp modSp">
        <pc:chgData name="bullingerm.tmt22" userId="S::bullingerm.tmt22@student.dhbw-heidenheim.de::9ce3b8b2-035f-4175-b301-998b03a50e38" providerId="AD" clId="Web-{CE6935EF-03B6-CEFA-2E2E-468AF0637301}" dt="2025-04-22T12:20:28.580" v="7"/>
        <pc:sldMkLst>
          <pc:docMk/>
          <pc:sldMk cId="3108981678" sldId="659"/>
        </pc:sldMkLst>
      </pc:sldChg>
    </pc:docChg>
  </pc:docChgLst>
  <pc:docChgLst>
    <pc:chgData name="staehlef.tmb22" userId="S::staehlef.tmb22@student.dhbw-heidenheim.de::737d0583-0f84-4afa-9d32-9dff97d0f705" providerId="AD" clId="Web-{A2735869-A166-1AE8-5D3F-72BE3D0AC2A0}"/>
    <pc:docChg chg="addSld delSld modSld sldOrd modSection">
      <pc:chgData name="staehlef.tmb22" userId="S::staehlef.tmb22@student.dhbw-heidenheim.de::737d0583-0f84-4afa-9d32-9dff97d0f705" providerId="AD" clId="Web-{A2735869-A166-1AE8-5D3F-72BE3D0AC2A0}" dt="2025-04-22T13:17:54.065" v="487"/>
      <pc:docMkLst>
        <pc:docMk/>
      </pc:docMkLst>
      <pc:sldChg chg="addSp delSp modSp">
        <pc:chgData name="staehlef.tmb22" userId="S::staehlef.tmb22@student.dhbw-heidenheim.de::737d0583-0f84-4afa-9d32-9dff97d0f705" providerId="AD" clId="Web-{A2735869-A166-1AE8-5D3F-72BE3D0AC2A0}" dt="2025-04-22T11:59:25.852" v="127"/>
        <pc:sldMkLst>
          <pc:docMk/>
          <pc:sldMk cId="3126125948" sldId="658"/>
        </pc:sldMkLst>
      </pc:sldChg>
      <pc:sldChg chg="addSp delSp del">
        <pc:chgData name="staehlef.tmb22" userId="S::staehlef.tmb22@student.dhbw-heidenheim.de::737d0583-0f84-4afa-9d32-9dff97d0f705" providerId="AD" clId="Web-{A2735869-A166-1AE8-5D3F-72BE3D0AC2A0}" dt="2025-04-22T13:17:54.065" v="487"/>
        <pc:sldMkLst>
          <pc:docMk/>
          <pc:sldMk cId="3108981678" sldId="659"/>
        </pc:sldMkLst>
      </pc:sldChg>
      <pc:sldChg chg="addSp delSp modSp add replId">
        <pc:chgData name="staehlef.tmb22" userId="S::staehlef.tmb22@student.dhbw-heidenheim.de::737d0583-0f84-4afa-9d32-9dff97d0f705" providerId="AD" clId="Web-{A2735869-A166-1AE8-5D3F-72BE3D0AC2A0}" dt="2025-04-22T12:00:03.651" v="128"/>
        <pc:sldMkLst>
          <pc:docMk/>
          <pc:sldMk cId="2182309661" sldId="661"/>
        </pc:sldMkLst>
      </pc:sldChg>
      <pc:sldChg chg="new del">
        <pc:chgData name="staehlef.tmb22" userId="S::staehlef.tmb22@student.dhbw-heidenheim.de::737d0583-0f84-4afa-9d32-9dff97d0f705" providerId="AD" clId="Web-{A2735869-A166-1AE8-5D3F-72BE3D0AC2A0}" dt="2025-04-22T10:05:13.430" v="40"/>
        <pc:sldMkLst>
          <pc:docMk/>
          <pc:sldMk cId="1577972764" sldId="662"/>
        </pc:sldMkLst>
      </pc:sldChg>
      <pc:sldChg chg="addSp delSp modSp new addAnim">
        <pc:chgData name="staehlef.tmb22" userId="S::staehlef.tmb22@student.dhbw-heidenheim.de::737d0583-0f84-4afa-9d32-9dff97d0f705" providerId="AD" clId="Web-{A2735869-A166-1AE8-5D3F-72BE3D0AC2A0}" dt="2025-04-22T12:23:17.593" v="196"/>
        <pc:sldMkLst>
          <pc:docMk/>
          <pc:sldMk cId="581652493" sldId="663"/>
        </pc:sldMkLst>
      </pc:sldChg>
      <pc:sldChg chg="ord">
        <pc:chgData name="staehlef.tmb22" userId="S::staehlef.tmb22@student.dhbw-heidenheim.de::737d0583-0f84-4afa-9d32-9dff97d0f705" providerId="AD" clId="Web-{A2735869-A166-1AE8-5D3F-72BE3D0AC2A0}" dt="2025-04-22T12:20:17.712" v="195"/>
        <pc:sldMkLst>
          <pc:docMk/>
          <pc:sldMk cId="1520689549" sldId="676"/>
        </pc:sldMkLst>
      </pc:sldChg>
      <pc:sldChg chg="addSp delSp modSp add replId">
        <pc:chgData name="staehlef.tmb22" userId="S::staehlef.tmb22@student.dhbw-heidenheim.de::737d0583-0f84-4afa-9d32-9dff97d0f705" providerId="AD" clId="Web-{A2735869-A166-1AE8-5D3F-72BE3D0AC2A0}" dt="2025-04-22T13:17:47.081" v="486" actId="1076"/>
        <pc:sldMkLst>
          <pc:docMk/>
          <pc:sldMk cId="1591261179" sldId="685"/>
        </pc:sldMkLst>
      </pc:sldChg>
    </pc:docChg>
  </pc:docChgLst>
  <pc:docChgLst>
    <pc:chgData name="haeberlea.tmb22" userId="S::haeberlea.tmb22@student.dhbw-heidenheim.de::e23f6701-6707-4a4b-a757-e56ad2eaf1e8" providerId="AD" clId="Web-{EBC93C04-5607-AA2E-D91E-0FB1BE80CD95}"/>
    <pc:docChg chg="modSld">
      <pc:chgData name="haeberlea.tmb22" userId="S::haeberlea.tmb22@student.dhbw-heidenheim.de::e23f6701-6707-4a4b-a757-e56ad2eaf1e8" providerId="AD" clId="Web-{EBC93C04-5607-AA2E-D91E-0FB1BE80CD95}" dt="2025-06-09T16:55:46.864" v="0" actId="20577"/>
      <pc:docMkLst>
        <pc:docMk/>
      </pc:docMkLst>
      <pc:sldChg chg="modSp">
        <pc:chgData name="haeberlea.tmb22" userId="S::haeberlea.tmb22@student.dhbw-heidenheim.de::e23f6701-6707-4a4b-a757-e56ad2eaf1e8" providerId="AD" clId="Web-{EBC93C04-5607-AA2E-D91E-0FB1BE80CD95}" dt="2025-06-09T16:55:46.864" v="0" actId="20577"/>
        <pc:sldMkLst>
          <pc:docMk/>
          <pc:sldMk cId="3664439336" sldId="262"/>
        </pc:sldMkLst>
        <pc:spChg chg="mod">
          <ac:chgData name="haeberlea.tmb22" userId="S::haeberlea.tmb22@student.dhbw-heidenheim.de::e23f6701-6707-4a4b-a757-e56ad2eaf1e8" providerId="AD" clId="Web-{EBC93C04-5607-AA2E-D91E-0FB1BE80CD95}" dt="2025-06-09T16:55:46.864" v="0" actId="20577"/>
          <ac:spMkLst>
            <pc:docMk/>
            <pc:sldMk cId="3664439336" sldId="262"/>
            <ac:spMk id="14" creationId="{C0024835-3B3D-40D8-8601-9961D5A4F2F4}"/>
          </ac:spMkLst>
        </pc:spChg>
      </pc:sldChg>
    </pc:docChg>
  </pc:docChgLst>
  <pc:docChgLst>
    <pc:chgData name="staehlef.tmb22" userId="S::staehlef.tmb22@student.dhbw-heidenheim.de::737d0583-0f84-4afa-9d32-9dff97d0f705" providerId="AD" clId="Web-{61B820F4-247B-8885-DF76-00D30ACE46F7}"/>
    <pc:docChg chg="sldOrd">
      <pc:chgData name="staehlef.tmb22" userId="S::staehlef.tmb22@student.dhbw-heidenheim.de::737d0583-0f84-4afa-9d32-9dff97d0f705" providerId="AD" clId="Web-{61B820F4-247B-8885-DF76-00D30ACE46F7}" dt="2025-06-09T12:01:02.159" v="0"/>
      <pc:docMkLst>
        <pc:docMk/>
      </pc:docMkLst>
      <pc:sldChg chg="ord">
        <pc:chgData name="staehlef.tmb22" userId="S::staehlef.tmb22@student.dhbw-heidenheim.de::737d0583-0f84-4afa-9d32-9dff97d0f705" providerId="AD" clId="Web-{61B820F4-247B-8885-DF76-00D30ACE46F7}" dt="2025-06-09T12:01:02.159" v="0"/>
        <pc:sldMkLst>
          <pc:docMk/>
          <pc:sldMk cId="1339647628" sldId="586"/>
        </pc:sldMkLst>
      </pc:sldChg>
    </pc:docChg>
  </pc:docChgLst>
  <pc:docChgLst>
    <pc:chgData name="seiboldf.tmb22" userId="S::seiboldf.tmb22@student.dhbw-heidenheim.de::df3edf2f-3342-4456-80d3-fdc875e3af8c" providerId="AD" clId="Web-{E83AB1E0-3D5E-707F-06F1-0775E017AF3E}"/>
    <pc:docChg chg="modSld">
      <pc:chgData name="seiboldf.tmb22" userId="S::seiboldf.tmb22@student.dhbw-heidenheim.de::df3edf2f-3342-4456-80d3-fdc875e3af8c" providerId="AD" clId="Web-{E83AB1E0-3D5E-707F-06F1-0775E017AF3E}" dt="2025-04-01T11:11:20.356" v="13"/>
      <pc:docMkLst>
        <pc:docMk/>
      </pc:docMkLst>
      <pc:sldChg chg="addSp delSp">
        <pc:chgData name="seiboldf.tmb22" userId="S::seiboldf.tmb22@student.dhbw-heidenheim.de::df3edf2f-3342-4456-80d3-fdc875e3af8c" providerId="AD" clId="Web-{E83AB1E0-3D5E-707F-06F1-0775E017AF3E}" dt="2025-04-01T11:11:20.356" v="13"/>
        <pc:sldMkLst>
          <pc:docMk/>
          <pc:sldMk cId="2756117336" sldId="630"/>
        </pc:sldMkLst>
      </pc:sldChg>
    </pc:docChg>
  </pc:docChgLst>
  <pc:docChgLst>
    <pc:chgData name="haeberlea.tmb22" userId="S::haeberlea.tmb22@student.dhbw-heidenheim.de::e23f6701-6707-4a4b-a757-e56ad2eaf1e8" providerId="AD" clId="Web-{4BE91163-F978-1A28-8797-C621781AFBF0}"/>
    <pc:docChg chg="addSld delSld modSld sldOrd modSection">
      <pc:chgData name="haeberlea.tmb22" userId="S::haeberlea.tmb22@student.dhbw-heidenheim.de::e23f6701-6707-4a4b-a757-e56ad2eaf1e8" providerId="AD" clId="Web-{4BE91163-F978-1A28-8797-C621781AFBF0}" dt="2025-04-01T11:47:23.052" v="240"/>
      <pc:docMkLst>
        <pc:docMk/>
      </pc:docMkLst>
      <pc:sldChg chg="modSp">
        <pc:chgData name="haeberlea.tmb22" userId="S::haeberlea.tmb22@student.dhbw-heidenheim.de::e23f6701-6707-4a4b-a757-e56ad2eaf1e8" providerId="AD" clId="Web-{4BE91163-F978-1A28-8797-C621781AFBF0}" dt="2025-04-01T11:46:40.926" v="236" actId="20577"/>
        <pc:sldMkLst>
          <pc:docMk/>
          <pc:sldMk cId="1339647628" sldId="586"/>
        </pc:sldMkLst>
      </pc:sldChg>
      <pc:sldChg chg="modSp">
        <pc:chgData name="haeberlea.tmb22" userId="S::haeberlea.tmb22@student.dhbw-heidenheim.de::e23f6701-6707-4a4b-a757-e56ad2eaf1e8" providerId="AD" clId="Web-{4BE91163-F978-1A28-8797-C621781AFBF0}" dt="2025-04-01T11:38:07.032" v="75" actId="20577"/>
        <pc:sldMkLst>
          <pc:docMk/>
          <pc:sldMk cId="1986987989" sldId="624"/>
        </pc:sldMkLst>
      </pc:sldChg>
      <pc:sldChg chg="modSp ord">
        <pc:chgData name="haeberlea.tmb22" userId="S::haeberlea.tmb22@student.dhbw-heidenheim.de::e23f6701-6707-4a4b-a757-e56ad2eaf1e8" providerId="AD" clId="Web-{4BE91163-F978-1A28-8797-C621781AFBF0}" dt="2025-04-01T11:37:04.951" v="56"/>
        <pc:sldMkLst>
          <pc:docMk/>
          <pc:sldMk cId="2756117336" sldId="630"/>
        </pc:sldMkLst>
      </pc:sldChg>
      <pc:sldChg chg="modSp ord">
        <pc:chgData name="haeberlea.tmb22" userId="S::haeberlea.tmb22@student.dhbw-heidenheim.de::e23f6701-6707-4a4b-a757-e56ad2eaf1e8" providerId="AD" clId="Web-{4BE91163-F978-1A28-8797-C621781AFBF0}" dt="2025-04-01T11:47:23.052" v="240"/>
        <pc:sldMkLst>
          <pc:docMk/>
          <pc:sldMk cId="52686789" sldId="631"/>
        </pc:sldMkLst>
      </pc:sldChg>
      <pc:sldChg chg="modSp add replId">
        <pc:chgData name="haeberlea.tmb22" userId="S::haeberlea.tmb22@student.dhbw-heidenheim.de::e23f6701-6707-4a4b-a757-e56ad2eaf1e8" providerId="AD" clId="Web-{4BE91163-F978-1A28-8797-C621781AFBF0}" dt="2025-04-01T11:46:26.785" v="232" actId="1076"/>
        <pc:sldMkLst>
          <pc:docMk/>
          <pc:sldMk cId="3087557768" sldId="632"/>
        </pc:sldMkLst>
      </pc:sldChg>
    </pc:docChg>
  </pc:docChgLst>
  <pc:docChgLst>
    <pc:chgData name="reilec.tmb22" userId="S::reilec.tmb22@student.dhbw-heidenheim.de::0b7e6988-e521-4a1e-900b-efd6b80549e1" providerId="AD" clId="Web-{8BA132B2-AFE5-FC7A-9BF6-88EC75B4C8CF}"/>
    <pc:docChg chg="modSld">
      <pc:chgData name="reilec.tmb22" userId="S::reilec.tmb22@student.dhbw-heidenheim.de::0b7e6988-e521-4a1e-900b-efd6b80549e1" providerId="AD" clId="Web-{8BA132B2-AFE5-FC7A-9BF6-88EC75B4C8CF}" dt="2025-04-29T12:43:18.167" v="4" actId="14100"/>
      <pc:docMkLst>
        <pc:docMk/>
      </pc:docMkLst>
      <pc:sldChg chg="modSp">
        <pc:chgData name="reilec.tmb22" userId="S::reilec.tmb22@student.dhbw-heidenheim.de::0b7e6988-e521-4a1e-900b-efd6b80549e1" providerId="AD" clId="Web-{8BA132B2-AFE5-FC7A-9BF6-88EC75B4C8CF}" dt="2025-04-29T12:43:18.167" v="4" actId="14100"/>
        <pc:sldMkLst>
          <pc:docMk/>
          <pc:sldMk cId="60939154" sldId="682"/>
        </pc:sldMkLst>
      </pc:sldChg>
    </pc:docChg>
  </pc:docChgLst>
  <pc:docChgLst>
    <pc:chgData name="staehlef.tmb22" userId="S::staehlef.tmb22@student.dhbw-heidenheim.de::737d0583-0f84-4afa-9d32-9dff97d0f705" providerId="AD" clId="Web-{716A67CF-A70D-7C9D-E274-C2EF2E0F4391}"/>
    <pc:docChg chg="addSld modSld modSection">
      <pc:chgData name="staehlef.tmb22" userId="S::staehlef.tmb22@student.dhbw-heidenheim.de::737d0583-0f84-4afa-9d32-9dff97d0f705" providerId="AD" clId="Web-{716A67CF-A70D-7C9D-E274-C2EF2E0F4391}" dt="2025-06-09T22:50:47.477" v="53" actId="20577"/>
      <pc:docMkLst>
        <pc:docMk/>
      </pc:docMkLst>
      <pc:sldChg chg="delSp modSp">
        <pc:chgData name="staehlef.tmb22" userId="S::staehlef.tmb22@student.dhbw-heidenheim.de::737d0583-0f84-4afa-9d32-9dff97d0f705" providerId="AD" clId="Web-{716A67CF-A70D-7C9D-E274-C2EF2E0F4391}" dt="2025-06-09T22:50:47.477" v="53" actId="20577"/>
        <pc:sldMkLst>
          <pc:docMk/>
          <pc:sldMk cId="974613365" sldId="728"/>
        </pc:sldMkLst>
        <pc:spChg chg="mod">
          <ac:chgData name="staehlef.tmb22" userId="S::staehlef.tmb22@student.dhbw-heidenheim.de::737d0583-0f84-4afa-9d32-9dff97d0f705" providerId="AD" clId="Web-{716A67CF-A70D-7C9D-E274-C2EF2E0F4391}" dt="2025-06-09T22:50:47.477" v="53" actId="20577"/>
          <ac:spMkLst>
            <pc:docMk/>
            <pc:sldMk cId="974613365" sldId="728"/>
            <ac:spMk id="16" creationId="{333FC264-8C29-742C-B7E8-ED96C8A84D81}"/>
          </ac:spMkLst>
        </pc:spChg>
      </pc:sldChg>
      <pc:sldChg chg="delSp modSp add replId">
        <pc:chgData name="staehlef.tmb22" userId="S::staehlef.tmb22@student.dhbw-heidenheim.de::737d0583-0f84-4afa-9d32-9dff97d0f705" providerId="AD" clId="Web-{716A67CF-A70D-7C9D-E274-C2EF2E0F4391}" dt="2025-06-09T22:50:05.819" v="42" actId="20577"/>
        <pc:sldMkLst>
          <pc:docMk/>
          <pc:sldMk cId="125042657" sldId="732"/>
        </pc:sldMkLst>
        <pc:spChg chg="mod">
          <ac:chgData name="staehlef.tmb22" userId="S::staehlef.tmb22@student.dhbw-heidenheim.de::737d0583-0f84-4afa-9d32-9dff97d0f705" providerId="AD" clId="Web-{716A67CF-A70D-7C9D-E274-C2EF2E0F4391}" dt="2025-06-09T22:46:50.062" v="1" actId="20577"/>
          <ac:spMkLst>
            <pc:docMk/>
            <pc:sldMk cId="125042657" sldId="732"/>
            <ac:spMk id="2" creationId="{314C0B59-7FFF-8779-9ED9-B4C7E3BE828B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50:05.819" v="42" actId="20577"/>
          <ac:spMkLst>
            <pc:docMk/>
            <pc:sldMk cId="125042657" sldId="732"/>
            <ac:spMk id="3" creationId="{FF36DC52-531D-6D49-8A81-257FCB0DD4C1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7:24.032" v="10" actId="20577"/>
          <ac:spMkLst>
            <pc:docMk/>
            <pc:sldMk cId="125042657" sldId="732"/>
            <ac:spMk id="16" creationId="{99EEDBD6-A096-B036-ED1C-48E76AA5F5D6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7:31.658" v="11" actId="1076"/>
          <ac:spMkLst>
            <pc:docMk/>
            <pc:sldMk cId="125042657" sldId="732"/>
            <ac:spMk id="25" creationId="{0C794D6C-C520-B3C6-A7CC-A70071FDB56C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7:50.064" v="12" actId="1076"/>
          <ac:spMkLst>
            <pc:docMk/>
            <pc:sldMk cId="125042657" sldId="732"/>
            <ac:spMk id="27" creationId="{1BC86749-3D2F-EC21-7E7F-627E12149887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7:50.080" v="13" actId="1076"/>
          <ac:spMkLst>
            <pc:docMk/>
            <pc:sldMk cId="125042657" sldId="732"/>
            <ac:spMk id="28" creationId="{BD452C1C-3E53-80B6-5CFA-59A2572C7637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8:26.253" v="18" actId="1076"/>
          <ac:spMkLst>
            <pc:docMk/>
            <pc:sldMk cId="125042657" sldId="732"/>
            <ac:spMk id="29" creationId="{4CA88201-0062-8FB3-3CC4-FC18FDAF35C0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8:26.269" v="19" actId="1076"/>
          <ac:spMkLst>
            <pc:docMk/>
            <pc:sldMk cId="125042657" sldId="732"/>
            <ac:spMk id="30" creationId="{96C9B038-F411-1739-1486-E6A433942200}"/>
          </ac:spMkLst>
        </pc:spChg>
        <pc:spChg chg="mod">
          <ac:chgData name="staehlef.tmb22" userId="S::staehlef.tmb22@student.dhbw-heidenheim.de::737d0583-0f84-4afa-9d32-9dff97d0f705" providerId="AD" clId="Web-{716A67CF-A70D-7C9D-E274-C2EF2E0F4391}" dt="2025-06-09T22:48:25.675" v="17" actId="1076"/>
          <ac:spMkLst>
            <pc:docMk/>
            <pc:sldMk cId="125042657" sldId="732"/>
            <ac:spMk id="31" creationId="{250B0E91-2691-0828-BB01-91F395DCB0AC}"/>
          </ac:spMkLst>
        </pc:spChg>
      </pc:sldChg>
    </pc:docChg>
  </pc:docChgLst>
  <pc:docChgLst>
    <pc:chgData name="maurerh.tmb22" userId="S::maurerh.tmb22@student.dhbw-heidenheim.de::7aa1423c-8795-49e0-8989-d53f8102476c" providerId="AD" clId="Web-{F45592C3-4666-62FE-E64E-862D7A5B74A9}"/>
    <pc:docChg chg="addSld modSld modSection">
      <pc:chgData name="maurerh.tmb22" userId="S::maurerh.tmb22@student.dhbw-heidenheim.de::7aa1423c-8795-49e0-8989-d53f8102476c" providerId="AD" clId="Web-{F45592C3-4666-62FE-E64E-862D7A5B74A9}" dt="2025-04-22T11:39:23.997" v="17"/>
      <pc:docMkLst>
        <pc:docMk/>
      </pc:docMkLst>
      <pc:sldChg chg="addSp delSp modSp add replId">
        <pc:chgData name="maurerh.tmb22" userId="S::maurerh.tmb22@student.dhbw-heidenheim.de::7aa1423c-8795-49e0-8989-d53f8102476c" providerId="AD" clId="Web-{F45592C3-4666-62FE-E64E-862D7A5B74A9}" dt="2025-04-22T11:39:23.997" v="17"/>
        <pc:sldMkLst>
          <pc:docMk/>
          <pc:sldMk cId="3106000447" sldId="678"/>
        </pc:sldMkLst>
      </pc:sldChg>
      <pc:sldChg chg="modSp add replId">
        <pc:chgData name="maurerh.tmb22" userId="S::maurerh.tmb22@student.dhbw-heidenheim.de::7aa1423c-8795-49e0-8989-d53f8102476c" providerId="AD" clId="Web-{F45592C3-4666-62FE-E64E-862D7A5B74A9}" dt="2025-04-22T11:36:12.912" v="15" actId="20577"/>
        <pc:sldMkLst>
          <pc:docMk/>
          <pc:sldMk cId="1916272374" sldId="679"/>
        </pc:sldMkLst>
      </pc:sldChg>
    </pc:docChg>
  </pc:docChgLst>
  <pc:docChgLst>
    <pc:chgData name="bullingerm.tmt22" userId="S::bullingerm.tmt22@student.dhbw-heidenheim.de::9ce3b8b2-035f-4175-b301-998b03a50e38" providerId="AD" clId="Web-{A3E0B156-1634-ED40-BE40-749E0C7ABF4A}"/>
    <pc:docChg chg="modSld">
      <pc:chgData name="bullingerm.tmt22" userId="S::bullingerm.tmt22@student.dhbw-heidenheim.de::9ce3b8b2-035f-4175-b301-998b03a50e38" providerId="AD" clId="Web-{A3E0B156-1634-ED40-BE40-749E0C7ABF4A}" dt="2025-06-26T15:49:58.119" v="3"/>
      <pc:docMkLst>
        <pc:docMk/>
      </pc:docMkLst>
      <pc:sldChg chg="addSp delSp modSp">
        <pc:chgData name="bullingerm.tmt22" userId="S::bullingerm.tmt22@student.dhbw-heidenheim.de::9ce3b8b2-035f-4175-b301-998b03a50e38" providerId="AD" clId="Web-{A3E0B156-1634-ED40-BE40-749E0C7ABF4A}" dt="2025-06-26T15:49:58.119" v="3"/>
        <pc:sldMkLst>
          <pc:docMk/>
          <pc:sldMk cId="4183269380" sldId="711"/>
        </pc:sldMkLst>
      </pc:sldChg>
    </pc:docChg>
  </pc:docChgLst>
  <pc:docChgLst>
    <pc:chgData clId="Web-{D3E87884-59A7-53D0-E7EE-81ECD1835D6C}"/>
    <pc:docChg chg="modSld">
      <pc:chgData name="" userId="" providerId="" clId="Web-{D3E87884-59A7-53D0-E7EE-81ECD1835D6C}" dt="2025-06-09T09:15:00.437" v="0" actId="1076"/>
      <pc:docMkLst>
        <pc:docMk/>
      </pc:docMkLst>
      <pc:sldChg chg="modSp">
        <pc:chgData name="" userId="" providerId="" clId="Web-{D3E87884-59A7-53D0-E7EE-81ECD1835D6C}" dt="2025-06-09T09:15:00.437" v="0" actId="1076"/>
        <pc:sldMkLst>
          <pc:docMk/>
          <pc:sldMk cId="3664439336" sldId="262"/>
        </pc:sldMkLst>
        <pc:picChg chg="mod">
          <ac:chgData name="" userId="" providerId="" clId="Web-{D3E87884-59A7-53D0-E7EE-81ECD1835D6C}" dt="2025-06-09T09:15:00.437" v="0" actId="1076"/>
          <ac:picMkLst>
            <pc:docMk/>
            <pc:sldMk cId="3664439336" sldId="262"/>
            <ac:picMk id="9" creationId="{3A07768B-93B0-C166-FD21-A24D61D93A54}"/>
          </ac:picMkLst>
        </pc:picChg>
      </pc:sldChg>
    </pc:docChg>
  </pc:docChgLst>
  <pc:docChgLst>
    <pc:chgData name="reilec.tmb22" userId="S::reilec.tmb22@student.dhbw-heidenheim.de::0b7e6988-e521-4a1e-900b-efd6b80549e1" providerId="AD" clId="Web-{C1BD72BE-10CB-298B-90B0-13FA5F7189FF}"/>
    <pc:docChg chg="modSld">
      <pc:chgData name="reilec.tmb22" userId="S::reilec.tmb22@student.dhbw-heidenheim.de::0b7e6988-e521-4a1e-900b-efd6b80549e1" providerId="AD" clId="Web-{C1BD72BE-10CB-298B-90B0-13FA5F7189FF}" dt="2025-04-22T13:46:48.653" v="1" actId="20577"/>
      <pc:docMkLst>
        <pc:docMk/>
      </pc:docMkLst>
      <pc:sldChg chg="modSp">
        <pc:chgData name="reilec.tmb22" userId="S::reilec.tmb22@student.dhbw-heidenheim.de::0b7e6988-e521-4a1e-900b-efd6b80549e1" providerId="AD" clId="Web-{C1BD72BE-10CB-298B-90B0-13FA5F7189FF}" dt="2025-04-22T13:46:48.653" v="1" actId="20577"/>
        <pc:sldMkLst>
          <pc:docMk/>
          <pc:sldMk cId="3664439336" sldId="262"/>
        </pc:sldMkLst>
      </pc:sldChg>
    </pc:docChg>
  </pc:docChgLst>
  <pc:docChgLst>
    <pc:chgData name="seiboldf.tmb22" userId="df3edf2f-3342-4456-80d3-fdc875e3af8c" providerId="ADAL" clId="{DC9DFF52-CCAB-48E3-8D23-5CFF701C4698}"/>
    <pc:docChg chg="undo custSel addSld delSld modSld sldOrd modMainMaster modSection">
      <pc:chgData name="seiboldf.tmb22" userId="df3edf2f-3342-4456-80d3-fdc875e3af8c" providerId="ADAL" clId="{DC9DFF52-CCAB-48E3-8D23-5CFF701C4698}" dt="2025-06-10T08:34:33.203" v="1148"/>
      <pc:docMkLst>
        <pc:docMk/>
      </pc:docMkLst>
      <pc:sldChg chg="addSp delSp modSp mod">
        <pc:chgData name="seiboldf.tmb22" userId="df3edf2f-3342-4456-80d3-fdc875e3af8c" providerId="ADAL" clId="{DC9DFF52-CCAB-48E3-8D23-5CFF701C4698}" dt="2025-06-09T13:51:47.988" v="205" actId="21"/>
        <pc:sldMkLst>
          <pc:docMk/>
          <pc:sldMk cId="3585174266" sldId="675"/>
        </pc:sldMkLst>
      </pc:sldChg>
      <pc:sldChg chg="addSp delSp modSp mod">
        <pc:chgData name="seiboldf.tmb22" userId="df3edf2f-3342-4456-80d3-fdc875e3af8c" providerId="ADAL" clId="{DC9DFF52-CCAB-48E3-8D23-5CFF701C4698}" dt="2025-06-09T13:51:36.918" v="200" actId="21"/>
        <pc:sldMkLst>
          <pc:docMk/>
          <pc:sldMk cId="1520689549" sldId="676"/>
        </pc:sldMkLst>
      </pc:sldChg>
      <pc:sldChg chg="addSp modSp mod ord">
        <pc:chgData name="seiboldf.tmb22" userId="df3edf2f-3342-4456-80d3-fdc875e3af8c" providerId="ADAL" clId="{DC9DFF52-CCAB-48E3-8D23-5CFF701C4698}" dt="2025-06-09T14:18:30.434" v="654"/>
        <pc:sldMkLst>
          <pc:docMk/>
          <pc:sldMk cId="2642269120" sldId="697"/>
        </pc:sldMkLst>
      </pc:sldChg>
      <pc:sldChg chg="addSp delSp modSp add del mod delAnim modAnim">
        <pc:chgData name="seiboldf.tmb22" userId="df3edf2f-3342-4456-80d3-fdc875e3af8c" providerId="ADAL" clId="{DC9DFF52-CCAB-48E3-8D23-5CFF701C4698}" dt="2025-06-09T20:04:01.323" v="1066" actId="47"/>
        <pc:sldMkLst>
          <pc:docMk/>
          <pc:sldMk cId="1988377" sldId="707"/>
        </pc:sldMkLst>
      </pc:sldChg>
      <pc:sldChg chg="addSp delSp modSp add mod">
        <pc:chgData name="seiboldf.tmb22" userId="df3edf2f-3342-4456-80d3-fdc875e3af8c" providerId="ADAL" clId="{DC9DFF52-CCAB-48E3-8D23-5CFF701C4698}" dt="2025-06-09T16:43:40.144" v="675" actId="20577"/>
        <pc:sldMkLst>
          <pc:docMk/>
          <pc:sldMk cId="328497533" sldId="708"/>
        </pc:sldMkLst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3" creationId="{8FFAC9B1-117A-5BAC-4AF8-2241F5CA4FFA}"/>
          </ac:spMkLst>
        </pc:spChg>
        <pc:spChg chg="add mod">
          <ac:chgData name="seiboldf.tmb22" userId="df3edf2f-3342-4456-80d3-fdc875e3af8c" providerId="ADAL" clId="{DC9DFF52-CCAB-48E3-8D23-5CFF701C4698}" dt="2025-06-09T13:57:12.946" v="340" actId="164"/>
          <ac:spMkLst>
            <pc:docMk/>
            <pc:sldMk cId="328497533" sldId="708"/>
            <ac:spMk id="4" creationId="{CD8C1066-9AB9-B615-9251-96785633CED0}"/>
          </ac:spMkLst>
        </pc:spChg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5" creationId="{CCC54CBA-33ED-0A86-DE8E-56CB106869A0}"/>
          </ac:spMkLst>
        </pc:spChg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6" creationId="{B263DA05-50E7-8A31-CB3F-46C520620314}"/>
          </ac:spMkLst>
        </pc:spChg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8" creationId="{A14D262C-B27D-364F-302B-7DC5C31376BC}"/>
          </ac:spMkLst>
        </pc:spChg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9" creationId="{27964D40-61D8-D936-1D60-F0AB7ED9EFDE}"/>
          </ac:spMkLst>
        </pc:spChg>
        <pc:spChg chg="add 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10" creationId="{EFBB0FA7-5F06-BD59-C6A4-7C018E553184}"/>
          </ac:spMkLst>
        </pc:spChg>
        <pc:spChg chg="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15" creationId="{890754C4-9E2E-7A66-2444-38F37E6042B5}"/>
          </ac:spMkLst>
        </pc:spChg>
        <pc:spChg chg="mod">
          <ac:chgData name="seiboldf.tmb22" userId="df3edf2f-3342-4456-80d3-fdc875e3af8c" providerId="ADAL" clId="{DC9DFF52-CCAB-48E3-8D23-5CFF701C4698}" dt="2025-06-09T13:57:49.929" v="347"/>
          <ac:spMkLst>
            <pc:docMk/>
            <pc:sldMk cId="328497533" sldId="708"/>
            <ac:spMk id="16" creationId="{68767356-7CE7-F4FC-63E1-C08A68C238EA}"/>
          </ac:spMkLst>
        </pc:spChg>
        <pc:spChg chg="add mod">
          <ac:chgData name="seiboldf.tmb22" userId="df3edf2f-3342-4456-80d3-fdc875e3af8c" providerId="ADAL" clId="{DC9DFF52-CCAB-48E3-8D23-5CFF701C4698}" dt="2025-06-09T13:58:24.804" v="353" actId="164"/>
          <ac:spMkLst>
            <pc:docMk/>
            <pc:sldMk cId="328497533" sldId="708"/>
            <ac:spMk id="21" creationId="{F45084CD-10B5-9F73-A1AB-CC9C49520BB3}"/>
          </ac:spMkLst>
        </pc:spChg>
        <pc:spChg chg="add mod">
          <ac:chgData name="seiboldf.tmb22" userId="df3edf2f-3342-4456-80d3-fdc875e3af8c" providerId="ADAL" clId="{DC9DFF52-CCAB-48E3-8D23-5CFF701C4698}" dt="2025-06-09T13:58:24.804" v="353" actId="164"/>
          <ac:spMkLst>
            <pc:docMk/>
            <pc:sldMk cId="328497533" sldId="708"/>
            <ac:spMk id="22" creationId="{1394B65E-011A-1625-498F-8C7FE6CC9D90}"/>
          </ac:spMkLst>
        </pc:spChg>
        <pc:spChg chg="add mod">
          <ac:chgData name="seiboldf.tmb22" userId="df3edf2f-3342-4456-80d3-fdc875e3af8c" providerId="ADAL" clId="{DC9DFF52-CCAB-48E3-8D23-5CFF701C4698}" dt="2025-06-09T13:58:24.804" v="353" actId="164"/>
          <ac:spMkLst>
            <pc:docMk/>
            <pc:sldMk cId="328497533" sldId="708"/>
            <ac:spMk id="23" creationId="{FFE268DA-B413-28F7-153B-60DBE31CAE60}"/>
          </ac:spMkLst>
        </pc:spChg>
        <pc:spChg chg="add mod">
          <ac:chgData name="seiboldf.tmb22" userId="df3edf2f-3342-4456-80d3-fdc875e3af8c" providerId="ADAL" clId="{DC9DFF52-CCAB-48E3-8D23-5CFF701C4698}" dt="2025-06-09T13:58:24.804" v="353" actId="164"/>
          <ac:spMkLst>
            <pc:docMk/>
            <pc:sldMk cId="328497533" sldId="708"/>
            <ac:spMk id="24" creationId="{ADBBDC5F-C861-8638-564D-CE350C530DD0}"/>
          </ac:spMkLst>
        </pc:spChg>
        <pc:spChg chg="mod">
          <ac:chgData name="seiboldf.tmb22" userId="df3edf2f-3342-4456-80d3-fdc875e3af8c" providerId="ADAL" clId="{DC9DFF52-CCAB-48E3-8D23-5CFF701C4698}" dt="2025-06-09T16:43:40.144" v="675" actId="20577"/>
          <ac:spMkLst>
            <pc:docMk/>
            <pc:sldMk cId="328497533" sldId="708"/>
            <ac:spMk id="34" creationId="{4484073E-7102-D49C-459A-AF23116EB4FB}"/>
          </ac:spMkLst>
        </pc:spChg>
        <pc:grpChg chg="add mod">
          <ac:chgData name="seiboldf.tmb22" userId="df3edf2f-3342-4456-80d3-fdc875e3af8c" providerId="ADAL" clId="{DC9DFF52-CCAB-48E3-8D23-5CFF701C4698}" dt="2025-06-09T13:57:12.946" v="340" actId="164"/>
          <ac:grpSpMkLst>
            <pc:docMk/>
            <pc:sldMk cId="328497533" sldId="708"/>
            <ac:grpSpMk id="11" creationId="{66055AAB-96A9-4DC4-EBC9-B477E2FB78F1}"/>
          </ac:grpSpMkLst>
        </pc:grpChg>
        <pc:grpChg chg="add mod">
          <ac:chgData name="seiboldf.tmb22" userId="df3edf2f-3342-4456-80d3-fdc875e3af8c" providerId="ADAL" clId="{DC9DFF52-CCAB-48E3-8D23-5CFF701C4698}" dt="2025-06-09T13:57:12.946" v="340" actId="164"/>
          <ac:grpSpMkLst>
            <pc:docMk/>
            <pc:sldMk cId="328497533" sldId="708"/>
            <ac:grpSpMk id="14" creationId="{3D4A872D-D345-C18D-29A5-DF3CA9767733}"/>
          </ac:grpSpMkLst>
        </pc:grpChg>
        <pc:grpChg chg="add mod">
          <ac:chgData name="seiboldf.tmb22" userId="df3edf2f-3342-4456-80d3-fdc875e3af8c" providerId="ADAL" clId="{DC9DFF52-CCAB-48E3-8D23-5CFF701C4698}" dt="2025-06-09T13:57:12.946" v="340" actId="164"/>
          <ac:grpSpMkLst>
            <pc:docMk/>
            <pc:sldMk cId="328497533" sldId="708"/>
            <ac:grpSpMk id="17" creationId="{275E7C19-C63C-26D0-BE77-0C231C14FEB1}"/>
          </ac:grpSpMkLst>
        </pc:grpChg>
        <pc:grpChg chg="add mod">
          <ac:chgData name="seiboldf.tmb22" userId="df3edf2f-3342-4456-80d3-fdc875e3af8c" providerId="ADAL" clId="{DC9DFF52-CCAB-48E3-8D23-5CFF701C4698}" dt="2025-06-09T13:58:35.985" v="354" actId="1076"/>
          <ac:grpSpMkLst>
            <pc:docMk/>
            <pc:sldMk cId="328497533" sldId="708"/>
            <ac:grpSpMk id="25" creationId="{F3E50344-51A8-801A-B102-E3130F508DE7}"/>
          </ac:grpSpMkLst>
        </pc:grpChg>
        <pc:picChg chg="mod">
          <ac:chgData name="seiboldf.tmb22" userId="df3edf2f-3342-4456-80d3-fdc875e3af8c" providerId="ADAL" clId="{DC9DFF52-CCAB-48E3-8D23-5CFF701C4698}" dt="2025-06-09T13:57:12.946" v="340" actId="164"/>
          <ac:picMkLst>
            <pc:docMk/>
            <pc:sldMk cId="328497533" sldId="708"/>
            <ac:picMk id="7" creationId="{29B101D4-CE3F-06A4-6105-65824C19D10D}"/>
          </ac:picMkLst>
        </pc:picChg>
        <pc:picChg chg="mod">
          <ac:chgData name="seiboldf.tmb22" userId="df3edf2f-3342-4456-80d3-fdc875e3af8c" providerId="ADAL" clId="{DC9DFF52-CCAB-48E3-8D23-5CFF701C4698}" dt="2025-06-09T13:58:24.804" v="353" actId="164"/>
          <ac:picMkLst>
            <pc:docMk/>
            <pc:sldMk cId="328497533" sldId="708"/>
            <ac:picMk id="13" creationId="{DC22D7E4-5E03-38A1-C8C8-4A06A815D83A}"/>
          </ac:picMkLst>
        </pc:picChg>
      </pc:sldChg>
      <pc:sldChg chg="addSp delSp modSp add del mod delAnim">
        <pc:chgData name="seiboldf.tmb22" userId="df3edf2f-3342-4456-80d3-fdc875e3af8c" providerId="ADAL" clId="{DC9DFF52-CCAB-48E3-8D23-5CFF701C4698}" dt="2025-06-09T13:52:01.916" v="217" actId="2696"/>
        <pc:sldMkLst>
          <pc:docMk/>
          <pc:sldMk cId="1022524213" sldId="708"/>
        </pc:sldMkLst>
      </pc:sldChg>
      <pc:sldChg chg="addSp modSp mod">
        <pc:chgData name="seiboldf.tmb22" userId="df3edf2f-3342-4456-80d3-fdc875e3af8c" providerId="ADAL" clId="{DC9DFF52-CCAB-48E3-8D23-5CFF701C4698}" dt="2025-06-10T08:34:33.203" v="1148"/>
        <pc:sldMkLst>
          <pc:docMk/>
          <pc:sldMk cId="392917613" sldId="709"/>
        </pc:sldMkLst>
        <pc:spChg chg="mod">
          <ac:chgData name="seiboldf.tmb22" userId="df3edf2f-3342-4456-80d3-fdc875e3af8c" providerId="ADAL" clId="{DC9DFF52-CCAB-48E3-8D23-5CFF701C4698}" dt="2025-06-10T08:34:32.443" v="1134" actId="948"/>
          <ac:spMkLst>
            <pc:docMk/>
            <pc:sldMk cId="392917613" sldId="709"/>
            <ac:spMk id="2" creationId="{F1AF383D-C7F9-1FD3-4471-9D0E83D67540}"/>
          </ac:spMkLst>
        </pc:spChg>
        <pc:graphicFrameChg chg="add mod ord modVis">
          <ac:chgData name="seiboldf.tmb22" userId="df3edf2f-3342-4456-80d3-fdc875e3af8c" providerId="ADAL" clId="{DC9DFF52-CCAB-48E3-8D23-5CFF701C4698}" dt="2025-06-10T08:34:33.203" v="1148"/>
          <ac:graphicFrameMkLst>
            <pc:docMk/>
            <pc:sldMk cId="392917613" sldId="709"/>
            <ac:graphicFrameMk id="7" creationId="{3C89DB2C-1D07-2A26-838F-B50943430A1A}"/>
          </ac:graphicFrameMkLst>
        </pc:graphicFrameChg>
      </pc:sldChg>
      <pc:sldChg chg="modSp mod">
        <pc:chgData name="seiboldf.tmb22" userId="df3edf2f-3342-4456-80d3-fdc875e3af8c" providerId="ADAL" clId="{DC9DFF52-CCAB-48E3-8D23-5CFF701C4698}" dt="2025-06-09T17:33:46.625" v="1056" actId="20577"/>
        <pc:sldMkLst>
          <pc:docMk/>
          <pc:sldMk cId="3058823640" sldId="710"/>
        </pc:sldMkLst>
        <pc:spChg chg="mod">
          <ac:chgData name="seiboldf.tmb22" userId="df3edf2f-3342-4456-80d3-fdc875e3af8c" providerId="ADAL" clId="{DC9DFF52-CCAB-48E3-8D23-5CFF701C4698}" dt="2025-06-09T17:33:46.625" v="1056" actId="20577"/>
          <ac:spMkLst>
            <pc:docMk/>
            <pc:sldMk cId="3058823640" sldId="710"/>
            <ac:spMk id="3" creationId="{3D5A49FF-1CBB-1339-08D3-AE963149983D}"/>
          </ac:spMkLst>
        </pc:spChg>
        <pc:spChg chg="mod">
          <ac:chgData name="seiboldf.tmb22" userId="df3edf2f-3342-4456-80d3-fdc875e3af8c" providerId="ADAL" clId="{DC9DFF52-CCAB-48E3-8D23-5CFF701C4698}" dt="2025-06-09T17:32:59.311" v="1046" actId="14100"/>
          <ac:spMkLst>
            <pc:docMk/>
            <pc:sldMk cId="3058823640" sldId="710"/>
            <ac:spMk id="13" creationId="{0D092A4B-F201-3C5E-35B9-E01DCDFBE55A}"/>
          </ac:spMkLst>
        </pc:spChg>
        <pc:spChg chg="mod">
          <ac:chgData name="seiboldf.tmb22" userId="df3edf2f-3342-4456-80d3-fdc875e3af8c" providerId="ADAL" clId="{DC9DFF52-CCAB-48E3-8D23-5CFF701C4698}" dt="2025-06-09T17:32:49.719" v="1034" actId="404"/>
          <ac:spMkLst>
            <pc:docMk/>
            <pc:sldMk cId="3058823640" sldId="710"/>
            <ac:spMk id="15" creationId="{F416C109-9334-7B6B-43CD-A527938CF8F3}"/>
          </ac:spMkLst>
        </pc:spChg>
        <pc:spChg chg="mod">
          <ac:chgData name="seiboldf.tmb22" userId="df3edf2f-3342-4456-80d3-fdc875e3af8c" providerId="ADAL" clId="{DC9DFF52-CCAB-48E3-8D23-5CFF701C4698}" dt="2025-06-09T17:32:49.719" v="1034" actId="404"/>
          <ac:spMkLst>
            <pc:docMk/>
            <pc:sldMk cId="3058823640" sldId="710"/>
            <ac:spMk id="30" creationId="{C9285DB5-476E-3DE4-B945-7F554004043E}"/>
          </ac:spMkLst>
        </pc:spChg>
        <pc:spChg chg="mod">
          <ac:chgData name="seiboldf.tmb22" userId="df3edf2f-3342-4456-80d3-fdc875e3af8c" providerId="ADAL" clId="{DC9DFF52-CCAB-48E3-8D23-5CFF701C4698}" dt="2025-06-09T17:32:49.719" v="1034" actId="404"/>
          <ac:spMkLst>
            <pc:docMk/>
            <pc:sldMk cId="3058823640" sldId="710"/>
            <ac:spMk id="32" creationId="{ECEB4C6F-57A3-812A-0059-EE8CBFF6A7E9}"/>
          </ac:spMkLst>
        </pc:spChg>
        <pc:spChg chg="mod">
          <ac:chgData name="seiboldf.tmb22" userId="df3edf2f-3342-4456-80d3-fdc875e3af8c" providerId="ADAL" clId="{DC9DFF52-CCAB-48E3-8D23-5CFF701C4698}" dt="2025-06-09T17:32:49.719" v="1034" actId="404"/>
          <ac:spMkLst>
            <pc:docMk/>
            <pc:sldMk cId="3058823640" sldId="710"/>
            <ac:spMk id="36" creationId="{28D24D7D-C151-CFC6-5F2A-D46598F25C4B}"/>
          </ac:spMkLst>
        </pc:spChg>
        <pc:cxnChg chg="mod">
          <ac:chgData name="seiboldf.tmb22" userId="df3edf2f-3342-4456-80d3-fdc875e3af8c" providerId="ADAL" clId="{DC9DFF52-CCAB-48E3-8D23-5CFF701C4698}" dt="2025-06-09T17:32:59.311" v="1046" actId="14100"/>
          <ac:cxnSpMkLst>
            <pc:docMk/>
            <pc:sldMk cId="3058823640" sldId="710"/>
            <ac:cxnSpMk id="10" creationId="{BAA5F033-B9BE-29AC-5D34-5B441D171081}"/>
          </ac:cxnSpMkLst>
        </pc:cxnChg>
        <pc:cxnChg chg="mod">
          <ac:chgData name="seiboldf.tmb22" userId="df3edf2f-3342-4456-80d3-fdc875e3af8c" providerId="ADAL" clId="{DC9DFF52-CCAB-48E3-8D23-5CFF701C4698}" dt="2025-06-09T17:32:49.719" v="1034" actId="404"/>
          <ac:cxnSpMkLst>
            <pc:docMk/>
            <pc:sldMk cId="3058823640" sldId="710"/>
            <ac:cxnSpMk id="14" creationId="{3A9B3B5F-24C6-3DA0-4790-54781829FFC5}"/>
          </ac:cxnSpMkLst>
        </pc:cxnChg>
        <pc:cxnChg chg="mod">
          <ac:chgData name="seiboldf.tmb22" userId="df3edf2f-3342-4456-80d3-fdc875e3af8c" providerId="ADAL" clId="{DC9DFF52-CCAB-48E3-8D23-5CFF701C4698}" dt="2025-06-09T17:32:49.719" v="1034" actId="404"/>
          <ac:cxnSpMkLst>
            <pc:docMk/>
            <pc:sldMk cId="3058823640" sldId="710"/>
            <ac:cxnSpMk id="29" creationId="{21017421-D639-7BCF-4EC9-6E65EBE85C9F}"/>
          </ac:cxnSpMkLst>
        </pc:cxnChg>
      </pc:sldChg>
      <pc:sldChg chg="modSp mod">
        <pc:chgData name="seiboldf.tmb22" userId="df3edf2f-3342-4456-80d3-fdc875e3af8c" providerId="ADAL" clId="{DC9DFF52-CCAB-48E3-8D23-5CFF701C4698}" dt="2025-06-09T17:34:28.551" v="1059" actId="14100"/>
        <pc:sldMkLst>
          <pc:docMk/>
          <pc:sldMk cId="4183269380" sldId="711"/>
        </pc:sldMkLst>
        <pc:spChg chg="mod">
          <ac:chgData name="seiboldf.tmb22" userId="df3edf2f-3342-4456-80d3-fdc875e3af8c" providerId="ADAL" clId="{DC9DFF52-CCAB-48E3-8D23-5CFF701C4698}" dt="2025-06-09T17:34:28.551" v="1059" actId="14100"/>
          <ac:spMkLst>
            <pc:docMk/>
            <pc:sldMk cId="4183269380" sldId="711"/>
            <ac:spMk id="11" creationId="{8836B76F-91FC-1566-3BE1-9E375EA61EE8}"/>
          </ac:spMkLst>
        </pc:spChg>
        <pc:spChg chg="mod">
          <ac:chgData name="seiboldf.tmb22" userId="df3edf2f-3342-4456-80d3-fdc875e3af8c" providerId="ADAL" clId="{DC9DFF52-CCAB-48E3-8D23-5CFF701C4698}" dt="2025-06-09T17:34:22.949" v="1058" actId="403"/>
          <ac:spMkLst>
            <pc:docMk/>
            <pc:sldMk cId="4183269380" sldId="711"/>
            <ac:spMk id="14" creationId="{F6C225BF-5925-22F1-B68A-2A99539DBF77}"/>
          </ac:spMkLst>
        </pc:spChg>
      </pc:sldChg>
      <pc:sldChg chg="addSp delSp modSp new del mod modAnim">
        <pc:chgData name="seiboldf.tmb22" userId="df3edf2f-3342-4456-80d3-fdc875e3af8c" providerId="ADAL" clId="{DC9DFF52-CCAB-48E3-8D23-5CFF701C4698}" dt="2025-06-09T14:09:57.001" v="605" actId="47"/>
        <pc:sldMkLst>
          <pc:docMk/>
          <pc:sldMk cId="874804941" sldId="715"/>
        </pc:sldMkLst>
      </pc:sldChg>
      <pc:sldChg chg="addSp delSp modSp add mod modAnim">
        <pc:chgData name="seiboldf.tmb22" userId="df3edf2f-3342-4456-80d3-fdc875e3af8c" providerId="ADAL" clId="{DC9DFF52-CCAB-48E3-8D23-5CFF701C4698}" dt="2025-06-09T14:14:52.852" v="652"/>
        <pc:sldMkLst>
          <pc:docMk/>
          <pc:sldMk cId="1481185254" sldId="715"/>
        </pc:sldMkLst>
        <pc:picChg chg="add mod">
          <ac:chgData name="seiboldf.tmb22" userId="df3edf2f-3342-4456-80d3-fdc875e3af8c" providerId="ADAL" clId="{DC9DFF52-CCAB-48E3-8D23-5CFF701C4698}" dt="2025-06-09T14:14:40.325" v="651" actId="14100"/>
          <ac:picMkLst>
            <pc:docMk/>
            <pc:sldMk cId="1481185254" sldId="715"/>
            <ac:picMk id="2050" creationId="{A9EA8296-1B97-D0B2-8870-A68DCFE32298}"/>
          </ac:picMkLst>
        </pc:picChg>
      </pc:sldChg>
      <pc:sldChg chg="del">
        <pc:chgData name="seiboldf.tmb22" userId="df3edf2f-3342-4456-80d3-fdc875e3af8c" providerId="ADAL" clId="{DC9DFF52-CCAB-48E3-8D23-5CFF701C4698}" dt="2025-06-09T16:45:34.142" v="765" actId="47"/>
        <pc:sldMkLst>
          <pc:docMk/>
          <pc:sldMk cId="3423916802" sldId="716"/>
        </pc:sldMkLst>
      </pc:sldChg>
      <pc:sldChg chg="modSp mod">
        <pc:chgData name="seiboldf.tmb22" userId="df3edf2f-3342-4456-80d3-fdc875e3af8c" providerId="ADAL" clId="{DC9DFF52-CCAB-48E3-8D23-5CFF701C4698}" dt="2025-06-09T20:08:33.651" v="1081" actId="20577"/>
        <pc:sldMkLst>
          <pc:docMk/>
          <pc:sldMk cId="1250413783" sldId="721"/>
        </pc:sldMkLst>
        <pc:spChg chg="mod">
          <ac:chgData name="seiboldf.tmb22" userId="df3edf2f-3342-4456-80d3-fdc875e3af8c" providerId="ADAL" clId="{DC9DFF52-CCAB-48E3-8D23-5CFF701C4698}" dt="2025-06-09T20:08:33.651" v="1081" actId="20577"/>
          <ac:spMkLst>
            <pc:docMk/>
            <pc:sldMk cId="1250413783" sldId="721"/>
            <ac:spMk id="9" creationId="{A8D23267-1844-D715-7652-4D95C7CC9B50}"/>
          </ac:spMkLst>
        </pc:spChg>
      </pc:sldChg>
      <pc:sldChg chg="add del">
        <pc:chgData name="seiboldf.tmb22" userId="df3edf2f-3342-4456-80d3-fdc875e3af8c" providerId="ADAL" clId="{DC9DFF52-CCAB-48E3-8D23-5CFF701C4698}" dt="2025-06-09T16:45:35.355" v="766" actId="47"/>
        <pc:sldMkLst>
          <pc:docMk/>
          <pc:sldMk cId="2731064780" sldId="722"/>
        </pc:sldMkLst>
      </pc:sldChg>
      <pc:sldChg chg="addSp modSp add mod">
        <pc:chgData name="seiboldf.tmb22" userId="df3edf2f-3342-4456-80d3-fdc875e3af8c" providerId="ADAL" clId="{DC9DFF52-CCAB-48E3-8D23-5CFF701C4698}" dt="2025-06-09T16:45:31.997" v="764" actId="1038"/>
        <pc:sldMkLst>
          <pc:docMk/>
          <pc:sldMk cId="3493767339" sldId="723"/>
        </pc:sldMkLst>
        <pc:spChg chg="add mod">
          <ac:chgData name="seiboldf.tmb22" userId="df3edf2f-3342-4456-80d3-fdc875e3af8c" providerId="ADAL" clId="{DC9DFF52-CCAB-48E3-8D23-5CFF701C4698}" dt="2025-06-09T16:44:52.969" v="682" actId="14100"/>
          <ac:spMkLst>
            <pc:docMk/>
            <pc:sldMk cId="3493767339" sldId="723"/>
            <ac:spMk id="2" creationId="{C903E41F-886A-044B-CBC2-911F3AAEE1A9}"/>
          </ac:spMkLst>
        </pc:spChg>
      </pc:sldChg>
      <pc:sldChg chg="modSp add mod ord">
        <pc:chgData name="seiboldf.tmb22" userId="df3edf2f-3342-4456-80d3-fdc875e3af8c" providerId="ADAL" clId="{DC9DFF52-CCAB-48E3-8D23-5CFF701C4698}" dt="2025-06-09T17:26:33.720" v="1028" actId="1076"/>
        <pc:sldMkLst>
          <pc:docMk/>
          <pc:sldMk cId="3479407819" sldId="725"/>
        </pc:sldMkLst>
        <pc:picChg chg="mod modCrop">
          <ac:chgData name="seiboldf.tmb22" userId="df3edf2f-3342-4456-80d3-fdc875e3af8c" providerId="ADAL" clId="{DC9DFF52-CCAB-48E3-8D23-5CFF701C4698}" dt="2025-06-09T17:26:33.720" v="1028" actId="1076"/>
          <ac:picMkLst>
            <pc:docMk/>
            <pc:sldMk cId="3479407819" sldId="725"/>
            <ac:picMk id="9" creationId="{5BD6328D-5840-1ACE-5FDC-3AC710376195}"/>
          </ac:picMkLst>
        </pc:picChg>
      </pc:sldChg>
      <pc:sldChg chg="modSp add mod ord">
        <pc:chgData name="seiboldf.tmb22" userId="df3edf2f-3342-4456-80d3-fdc875e3af8c" providerId="ADAL" clId="{DC9DFF52-CCAB-48E3-8D23-5CFF701C4698}" dt="2025-06-09T16:56:00.911" v="833" actId="1076"/>
        <pc:sldMkLst>
          <pc:docMk/>
          <pc:sldMk cId="4156085801" sldId="726"/>
        </pc:sldMkLst>
      </pc:sldChg>
      <pc:sldChg chg="addSp delSp modSp add mod modAnim">
        <pc:chgData name="seiboldf.tmb22" userId="df3edf2f-3342-4456-80d3-fdc875e3af8c" providerId="ADAL" clId="{DC9DFF52-CCAB-48E3-8D23-5CFF701C4698}" dt="2025-06-09T17:12:03.876" v="1024" actId="20577"/>
        <pc:sldMkLst>
          <pc:docMk/>
          <pc:sldMk cId="2624666018" sldId="727"/>
        </pc:sldMkLst>
        <pc:spChg chg="add mod">
          <ac:chgData name="seiboldf.tmb22" userId="df3edf2f-3342-4456-80d3-fdc875e3af8c" providerId="ADAL" clId="{DC9DFF52-CCAB-48E3-8D23-5CFF701C4698}" dt="2025-06-09T17:11:43.216" v="1013" actId="1076"/>
          <ac:spMkLst>
            <pc:docMk/>
            <pc:sldMk cId="2624666018" sldId="727"/>
            <ac:spMk id="6" creationId="{131251F0-18D2-70D8-AA57-7A279E45938E}"/>
          </ac:spMkLst>
        </pc:spChg>
        <pc:spChg chg="add mod">
          <ac:chgData name="seiboldf.tmb22" userId="df3edf2f-3342-4456-80d3-fdc875e3af8c" providerId="ADAL" clId="{DC9DFF52-CCAB-48E3-8D23-5CFF701C4698}" dt="2025-06-09T17:11:40.776" v="1012" actId="1076"/>
          <ac:spMkLst>
            <pc:docMk/>
            <pc:sldMk cId="2624666018" sldId="727"/>
            <ac:spMk id="10" creationId="{9FD321AC-D065-BB99-DBBC-43298DE8B8F2}"/>
          </ac:spMkLst>
        </pc:spChg>
        <pc:spChg chg="mod">
          <ac:chgData name="seiboldf.tmb22" userId="df3edf2f-3342-4456-80d3-fdc875e3af8c" providerId="ADAL" clId="{DC9DFF52-CCAB-48E3-8D23-5CFF701C4698}" dt="2025-06-09T17:12:03.876" v="1024" actId="20577"/>
          <ac:spMkLst>
            <pc:docMk/>
            <pc:sldMk cId="2624666018" sldId="727"/>
            <ac:spMk id="43" creationId="{0E8FC38E-FD8F-5D61-2834-8643047981F2}"/>
          </ac:spMkLst>
        </pc:spChg>
        <pc:picChg chg="add mod modCrop">
          <ac:chgData name="seiboldf.tmb22" userId="df3edf2f-3342-4456-80d3-fdc875e3af8c" providerId="ADAL" clId="{DC9DFF52-CCAB-48E3-8D23-5CFF701C4698}" dt="2025-06-09T17:10:09.894" v="1005" actId="1076"/>
          <ac:picMkLst>
            <pc:docMk/>
            <pc:sldMk cId="2624666018" sldId="727"/>
            <ac:picMk id="4" creationId="{AF097368-DF3B-084C-9ECE-AE325B4C51D9}"/>
          </ac:picMkLst>
        </pc:picChg>
        <pc:picChg chg="add del mod modCrop">
          <ac:chgData name="seiboldf.tmb22" userId="df3edf2f-3342-4456-80d3-fdc875e3af8c" providerId="ADAL" clId="{DC9DFF52-CCAB-48E3-8D23-5CFF701C4698}" dt="2025-06-09T17:05:27.286" v="938" actId="1076"/>
          <ac:picMkLst>
            <pc:docMk/>
            <pc:sldMk cId="2624666018" sldId="727"/>
            <ac:picMk id="9" creationId="{86A15437-7C86-C9BE-FAB8-50C39DF6ABFF}"/>
          </ac:picMkLst>
        </pc:picChg>
        <pc:picChg chg="add mod">
          <ac:chgData name="seiboldf.tmb22" userId="df3edf2f-3342-4456-80d3-fdc875e3af8c" providerId="ADAL" clId="{DC9DFF52-CCAB-48E3-8D23-5CFF701C4698}" dt="2025-06-09T17:10:15.732" v="1007" actId="1076"/>
          <ac:picMkLst>
            <pc:docMk/>
            <pc:sldMk cId="2624666018" sldId="727"/>
            <ac:picMk id="4098" creationId="{A8EDDF1E-C137-7F8B-D1D5-080F119490D0}"/>
          </ac:picMkLst>
        </pc:picChg>
        <pc:picChg chg="add mod">
          <ac:chgData name="seiboldf.tmb22" userId="df3edf2f-3342-4456-80d3-fdc875e3af8c" providerId="ADAL" clId="{DC9DFF52-CCAB-48E3-8D23-5CFF701C4698}" dt="2025-06-09T17:09:07.946" v="974" actId="1076"/>
          <ac:picMkLst>
            <pc:docMk/>
            <pc:sldMk cId="2624666018" sldId="727"/>
            <ac:picMk id="4100" creationId="{860D0D31-A498-4B2C-343C-441A4392A0FC}"/>
          </ac:picMkLst>
        </pc:picChg>
        <pc:picChg chg="add mod">
          <ac:chgData name="seiboldf.tmb22" userId="df3edf2f-3342-4456-80d3-fdc875e3af8c" providerId="ADAL" clId="{DC9DFF52-CCAB-48E3-8D23-5CFF701C4698}" dt="2025-06-09T17:05:29.607" v="939" actId="1076"/>
          <ac:picMkLst>
            <pc:docMk/>
            <pc:sldMk cId="2624666018" sldId="727"/>
            <ac:picMk id="4102" creationId="{126E32D8-1EDA-4217-8889-9635AB7E1B59}"/>
          </ac:picMkLst>
        </pc:picChg>
        <pc:picChg chg="add mod">
          <ac:chgData name="seiboldf.tmb22" userId="df3edf2f-3342-4456-80d3-fdc875e3af8c" providerId="ADAL" clId="{DC9DFF52-CCAB-48E3-8D23-5CFF701C4698}" dt="2025-06-09T17:07:31.738" v="969" actId="1076"/>
          <ac:picMkLst>
            <pc:docMk/>
            <pc:sldMk cId="2624666018" sldId="727"/>
            <ac:picMk id="4106" creationId="{2A7153AF-7C89-FA15-6985-B204072EAAB3}"/>
          </ac:picMkLst>
        </pc:picChg>
        <pc:cxnChg chg="add mod">
          <ac:chgData name="seiboldf.tmb22" userId="df3edf2f-3342-4456-80d3-fdc875e3af8c" providerId="ADAL" clId="{DC9DFF52-CCAB-48E3-8D23-5CFF701C4698}" dt="2025-06-09T17:09:47.930" v="998" actId="692"/>
          <ac:cxnSpMkLst>
            <pc:docMk/>
            <pc:sldMk cId="2624666018" sldId="727"/>
            <ac:cxnSpMk id="8" creationId="{B5B66C03-6087-AFCE-60DE-65F865BA927A}"/>
          </ac:cxnSpMkLst>
        </pc:cxnChg>
        <pc:cxnChg chg="add mod">
          <ac:chgData name="seiboldf.tmb22" userId="df3edf2f-3342-4456-80d3-fdc875e3af8c" providerId="ADAL" clId="{DC9DFF52-CCAB-48E3-8D23-5CFF701C4698}" dt="2025-06-09T17:10:20.777" v="1008" actId="14100"/>
          <ac:cxnSpMkLst>
            <pc:docMk/>
            <pc:sldMk cId="2624666018" sldId="727"/>
            <ac:cxnSpMk id="11" creationId="{5E3D3056-6AAC-B6D6-18BD-69F5CB10DD04}"/>
          </ac:cxnSpMkLst>
        </pc:cxnChg>
        <pc:cxnChg chg="add mod">
          <ac:chgData name="seiboldf.tmb22" userId="df3edf2f-3342-4456-80d3-fdc875e3af8c" providerId="ADAL" clId="{DC9DFF52-CCAB-48E3-8D23-5CFF701C4698}" dt="2025-06-09T17:10:06.251" v="1004" actId="14100"/>
          <ac:cxnSpMkLst>
            <pc:docMk/>
            <pc:sldMk cId="2624666018" sldId="727"/>
            <ac:cxnSpMk id="14" creationId="{87791476-1A33-F53B-69E6-C555A914ADA3}"/>
          </ac:cxnSpMkLst>
        </pc:cxnChg>
      </pc:sldChg>
      <pc:sldChg chg="add del modAnim">
        <pc:chgData name="seiboldf.tmb22" userId="df3edf2f-3342-4456-80d3-fdc875e3af8c" providerId="ADAL" clId="{DC9DFF52-CCAB-48E3-8D23-5CFF701C4698}" dt="2025-06-10T08:32:05.142" v="1131" actId="47"/>
        <pc:sldMkLst>
          <pc:docMk/>
          <pc:sldMk cId="4030356483" sldId="731"/>
        </pc:sldMkLst>
      </pc:sldChg>
      <pc:sldChg chg="modSp mod">
        <pc:chgData name="seiboldf.tmb22" userId="df3edf2f-3342-4456-80d3-fdc875e3af8c" providerId="ADAL" clId="{DC9DFF52-CCAB-48E3-8D23-5CFF701C4698}" dt="2025-06-10T08:32:57.825" v="1132" actId="1038"/>
        <pc:sldMkLst>
          <pc:docMk/>
          <pc:sldMk cId="1002509375" sldId="733"/>
        </pc:sldMkLst>
        <pc:picChg chg="mod">
          <ac:chgData name="seiboldf.tmb22" userId="df3edf2f-3342-4456-80d3-fdc875e3af8c" providerId="ADAL" clId="{DC9DFF52-CCAB-48E3-8D23-5CFF701C4698}" dt="2025-06-10T08:32:57.825" v="1132" actId="1038"/>
          <ac:picMkLst>
            <pc:docMk/>
            <pc:sldMk cId="1002509375" sldId="733"/>
            <ac:picMk id="9" creationId="{A46AFF21-92BF-9F13-F617-548BA6F6EDF4}"/>
          </ac:picMkLst>
        </pc:picChg>
      </pc:sldChg>
      <pc:sldChg chg="addSp delSp modSp add mod delAnim modAnim">
        <pc:chgData name="seiboldf.tmb22" userId="df3edf2f-3342-4456-80d3-fdc875e3af8c" providerId="ADAL" clId="{DC9DFF52-CCAB-48E3-8D23-5CFF701C4698}" dt="2025-06-10T08:28:46.855" v="1130"/>
        <pc:sldMkLst>
          <pc:docMk/>
          <pc:sldMk cId="937114488" sldId="734"/>
        </pc:sldMkLst>
        <pc:spChg chg="mod ord">
          <ac:chgData name="seiboldf.tmb22" userId="df3edf2f-3342-4456-80d3-fdc875e3af8c" providerId="ADAL" clId="{DC9DFF52-CCAB-48E3-8D23-5CFF701C4698}" dt="2025-06-10T08:23:15.171" v="1093"/>
          <ac:spMkLst>
            <pc:docMk/>
            <pc:sldMk cId="937114488" sldId="734"/>
            <ac:spMk id="63" creationId="{601DE9BE-6058-A652-1DD5-5A68DC15F22C}"/>
          </ac:spMkLst>
        </pc:spChg>
        <pc:spChg chg="mod ord">
          <ac:chgData name="seiboldf.tmb22" userId="df3edf2f-3342-4456-80d3-fdc875e3af8c" providerId="ADAL" clId="{DC9DFF52-CCAB-48E3-8D23-5CFF701C4698}" dt="2025-06-10T08:23:15.175" v="1095"/>
          <ac:spMkLst>
            <pc:docMk/>
            <pc:sldMk cId="937114488" sldId="734"/>
            <ac:spMk id="1024" creationId="{4A39F705-2001-096A-9F17-352BAC752B6B}"/>
          </ac:spMkLst>
        </pc:spChg>
        <pc:spChg chg="mod ord">
          <ac:chgData name="seiboldf.tmb22" userId="df3edf2f-3342-4456-80d3-fdc875e3af8c" providerId="ADAL" clId="{DC9DFF52-CCAB-48E3-8D23-5CFF701C4698}" dt="2025-06-10T08:23:15.175" v="1097"/>
          <ac:spMkLst>
            <pc:docMk/>
            <pc:sldMk cId="937114488" sldId="734"/>
            <ac:spMk id="1025" creationId="{8DA1A901-7100-BE12-915C-FC94053AAA4B}"/>
          </ac:spMkLst>
        </pc:spChg>
        <pc:spChg chg="mod ord">
          <ac:chgData name="seiboldf.tmb22" userId="df3edf2f-3342-4456-80d3-fdc875e3af8c" providerId="ADAL" clId="{DC9DFF52-CCAB-48E3-8D23-5CFF701C4698}" dt="2025-06-10T08:23:15.178" v="1099"/>
          <ac:spMkLst>
            <pc:docMk/>
            <pc:sldMk cId="937114488" sldId="734"/>
            <ac:spMk id="1027" creationId="{52E2E7EA-94BD-0D3D-B452-0C0F82702D8C}"/>
          </ac:spMkLst>
        </pc:spChg>
        <pc:spChg chg="mod ord">
          <ac:chgData name="seiboldf.tmb22" userId="df3edf2f-3342-4456-80d3-fdc875e3af8c" providerId="ADAL" clId="{DC9DFF52-CCAB-48E3-8D23-5CFF701C4698}" dt="2025-06-10T08:23:15.178" v="1101"/>
          <ac:spMkLst>
            <pc:docMk/>
            <pc:sldMk cId="937114488" sldId="734"/>
            <ac:spMk id="1028" creationId="{B2913E62-3C74-23D4-9BD8-E6F5267244D5}"/>
          </ac:spMkLst>
        </pc:spChg>
        <pc:spChg chg="mod ord">
          <ac:chgData name="seiboldf.tmb22" userId="df3edf2f-3342-4456-80d3-fdc875e3af8c" providerId="ADAL" clId="{DC9DFF52-CCAB-48E3-8D23-5CFF701C4698}" dt="2025-06-10T08:23:15.186" v="1111"/>
          <ac:spMkLst>
            <pc:docMk/>
            <pc:sldMk cId="937114488" sldId="734"/>
            <ac:spMk id="1064" creationId="{22ABEC1F-4BB8-8B02-1071-B1F0B6B3EBA0}"/>
          </ac:spMkLst>
        </pc:spChg>
        <pc:grpChg chg="mod ord">
          <ac:chgData name="seiboldf.tmb22" userId="df3edf2f-3342-4456-80d3-fdc875e3af8c" providerId="ADAL" clId="{DC9DFF52-CCAB-48E3-8D23-5CFF701C4698}" dt="2025-06-10T08:23:15.178" v="1103"/>
          <ac:grpSpMkLst>
            <pc:docMk/>
            <pc:sldMk cId="937114488" sldId="734"/>
            <ac:grpSpMk id="1029" creationId="{7A255889-9CC8-D17C-5DA5-E6D1A0749BFD}"/>
          </ac:grpSpMkLst>
        </pc:grpChg>
        <pc:grpChg chg="mod ord">
          <ac:chgData name="seiboldf.tmb22" userId="df3edf2f-3342-4456-80d3-fdc875e3af8c" providerId="ADAL" clId="{DC9DFF52-CCAB-48E3-8D23-5CFF701C4698}" dt="2025-06-10T08:23:15.178" v="1105"/>
          <ac:grpSpMkLst>
            <pc:docMk/>
            <pc:sldMk cId="937114488" sldId="734"/>
            <ac:grpSpMk id="1043" creationId="{2864E2A2-AB60-B732-5D12-592229B32B13}"/>
          </ac:grpSpMkLst>
        </pc:grpChg>
        <pc:graphicFrameChg chg="mod">
          <ac:chgData name="seiboldf.tmb22" userId="df3edf2f-3342-4456-80d3-fdc875e3af8c" providerId="ADAL" clId="{DC9DFF52-CCAB-48E3-8D23-5CFF701C4698}" dt="2025-06-10T08:23:15.186" v="1114"/>
          <ac:graphicFrameMkLst>
            <pc:docMk/>
            <pc:sldMk cId="937114488" sldId="734"/>
            <ac:graphicFrameMk id="60" creationId="{62B8C061-2906-34E9-831D-A45E8405E90D}"/>
          </ac:graphicFrameMkLst>
        </pc:graphicFrameChg>
        <pc:picChg chg="add mod ord">
          <ac:chgData name="seiboldf.tmb22" userId="df3edf2f-3342-4456-80d3-fdc875e3af8c" providerId="ADAL" clId="{DC9DFF52-CCAB-48E3-8D23-5CFF701C4698}" dt="2025-06-10T08:23:15.160" v="1087"/>
          <ac:picMkLst>
            <pc:docMk/>
            <pc:sldMk cId="937114488" sldId="734"/>
            <ac:picMk id="2" creationId="{6F7FE75C-7FD3-E12E-9688-E77FA7F12671}"/>
          </ac:picMkLst>
        </pc:picChg>
        <pc:picChg chg="mod ord">
          <ac:chgData name="seiboldf.tmb22" userId="df3edf2f-3342-4456-80d3-fdc875e3af8c" providerId="ADAL" clId="{DC9DFF52-CCAB-48E3-8D23-5CFF701C4698}" dt="2025-06-10T08:23:15.178" v="1109"/>
          <ac:picMkLst>
            <pc:docMk/>
            <pc:sldMk cId="937114488" sldId="734"/>
            <ac:picMk id="1063" creationId="{9C89C752-2BB5-081D-02BB-90EF64DFB3FA}"/>
          </ac:picMkLst>
        </pc:picChg>
        <pc:picChg chg="mod">
          <ac:chgData name="seiboldf.tmb22" userId="df3edf2f-3342-4456-80d3-fdc875e3af8c" providerId="ADAL" clId="{DC9DFF52-CCAB-48E3-8D23-5CFF701C4698}" dt="2025-06-10T08:23:15.186" v="1112"/>
          <ac:picMkLst>
            <pc:docMk/>
            <pc:sldMk cId="937114488" sldId="734"/>
            <ac:picMk id="1065" creationId="{9BA32F3E-A663-967D-7625-4A0A002B33FB}"/>
          </ac:picMkLst>
        </pc:picChg>
        <pc:cxnChg chg="mod ord">
          <ac:chgData name="seiboldf.tmb22" userId="df3edf2f-3342-4456-80d3-fdc875e3af8c" providerId="ADAL" clId="{DC9DFF52-CCAB-48E3-8D23-5CFF701C4698}" dt="2025-06-10T08:23:15.170" v="1089"/>
          <ac:cxnSpMkLst>
            <pc:docMk/>
            <pc:sldMk cId="937114488" sldId="734"/>
            <ac:cxnSpMk id="61" creationId="{B29F210E-F614-806D-FEAA-FF5DCE2C1992}"/>
          </ac:cxnSpMkLst>
        </pc:cxnChg>
        <pc:cxnChg chg="mod ord">
          <ac:chgData name="seiboldf.tmb22" userId="df3edf2f-3342-4456-80d3-fdc875e3af8c" providerId="ADAL" clId="{DC9DFF52-CCAB-48E3-8D23-5CFF701C4698}" dt="2025-06-10T08:23:15.171" v="1091"/>
          <ac:cxnSpMkLst>
            <pc:docMk/>
            <pc:sldMk cId="937114488" sldId="734"/>
            <ac:cxnSpMk id="62" creationId="{F3B79553-3E67-9C5E-9653-0AC685F30B4C}"/>
          </ac:cxnSpMkLst>
        </pc:cxnChg>
        <pc:cxnChg chg="mod ord">
          <ac:chgData name="seiboldf.tmb22" userId="df3edf2f-3342-4456-80d3-fdc875e3af8c" providerId="ADAL" clId="{DC9DFF52-CCAB-48E3-8D23-5CFF701C4698}" dt="2025-06-10T08:23:15.178" v="1107"/>
          <ac:cxnSpMkLst>
            <pc:docMk/>
            <pc:sldMk cId="937114488" sldId="734"/>
            <ac:cxnSpMk id="1062" creationId="{8F3F66CA-CE30-8CFC-9F85-728202043442}"/>
          </ac:cxnSpMkLst>
        </pc:cxnChg>
      </pc:sldChg>
      <pc:sldMasterChg chg="addSp delSp modSp mod modSldLayout">
        <pc:chgData name="seiboldf.tmb22" userId="df3edf2f-3342-4456-80d3-fdc875e3af8c" providerId="ADAL" clId="{DC9DFF52-CCAB-48E3-8D23-5CFF701C4698}" dt="2025-06-09T15:03:07.524" v="673"/>
        <pc:sldMasterMkLst>
          <pc:docMk/>
          <pc:sldMasterMk cId="2846167297" sldId="2147483677"/>
        </pc:sldMasterMkLst>
        <pc:spChg chg="mod">
          <ac:chgData name="seiboldf.tmb22" userId="df3edf2f-3342-4456-80d3-fdc875e3af8c" providerId="ADAL" clId="{DC9DFF52-CCAB-48E3-8D23-5CFF701C4698}" dt="2025-06-09T14:03:33.049" v="439" actId="948"/>
          <ac:spMkLst>
            <pc:docMk/>
            <pc:sldMasterMk cId="2846167297" sldId="2147483677"/>
            <ac:spMk id="2" creationId="{B5DF379B-2F7B-4B88-BC16-FA39CEB2C3FA}"/>
          </ac:spMkLst>
        </pc:spChg>
        <pc:graphicFrameChg chg="add mod ord modVis">
          <ac:chgData name="seiboldf.tmb22" userId="df3edf2f-3342-4456-80d3-fdc875e3af8c" providerId="ADAL" clId="{DC9DFF52-CCAB-48E3-8D23-5CFF701C4698}" dt="2025-06-09T14:03:33.289" v="491"/>
          <ac:graphicFrameMkLst>
            <pc:docMk/>
            <pc:sldMasterMk cId="2846167297" sldId="2147483677"/>
            <ac:graphicFrameMk id="8" creationId="{F8B6DAE0-B0CB-FAC1-1A6E-31A37C737578}"/>
          </ac:graphicFrameMkLst>
        </pc:graphicFrameChg>
        <pc:picChg chg="add mod">
          <ac:chgData name="seiboldf.tmb22" userId="df3edf2f-3342-4456-80d3-fdc875e3af8c" providerId="ADAL" clId="{DC9DFF52-CCAB-48E3-8D23-5CFF701C4698}" dt="2025-06-09T15:02:46.517" v="671" actId="1036"/>
          <ac:picMkLst>
            <pc:docMk/>
            <pc:sldMasterMk cId="2846167297" sldId="2147483677"/>
            <ac:picMk id="9" creationId="{5E81C7E3-3F2F-FAF8-CEB2-89621FD8026B}"/>
          </ac:picMkLst>
        </pc:picChg>
        <pc:sldLayoutChg chg="addSp delSp modSp mod">
          <pc:chgData name="seiboldf.tmb22" userId="df3edf2f-3342-4456-80d3-fdc875e3af8c" providerId="ADAL" clId="{DC9DFF52-CCAB-48E3-8D23-5CFF701C4698}" dt="2025-06-09T15:02:52.525" v="672"/>
          <pc:sldLayoutMkLst>
            <pc:docMk/>
            <pc:sldMasterMk cId="2846167297" sldId="2147483677"/>
            <pc:sldLayoutMk cId="2552064348" sldId="2147483679"/>
          </pc:sldLayoutMkLst>
          <pc:picChg chg="add mod">
            <ac:chgData name="seiboldf.tmb22" userId="df3edf2f-3342-4456-80d3-fdc875e3af8c" providerId="ADAL" clId="{DC9DFF52-CCAB-48E3-8D23-5CFF701C4698}" dt="2025-06-09T15:02:52.525" v="672"/>
            <ac:picMkLst>
              <pc:docMk/>
              <pc:sldMasterMk cId="2846167297" sldId="2147483677"/>
              <pc:sldLayoutMk cId="2552064348" sldId="2147483679"/>
              <ac:picMk id="6" creationId="{C0C9D569-B591-3337-3187-B068A67AC9B7}"/>
            </ac:picMkLst>
          </pc:picChg>
        </pc:sldLayoutChg>
        <pc:sldLayoutChg chg="addSp modSp">
          <pc:chgData name="seiboldf.tmb22" userId="df3edf2f-3342-4456-80d3-fdc875e3af8c" providerId="ADAL" clId="{DC9DFF52-CCAB-48E3-8D23-5CFF701C4698}" dt="2025-06-09T15:03:07.524" v="673"/>
          <pc:sldLayoutMkLst>
            <pc:docMk/>
            <pc:sldMasterMk cId="2846167297" sldId="2147483677"/>
            <pc:sldLayoutMk cId="3747579019" sldId="2147483680"/>
          </pc:sldLayoutMkLst>
          <pc:picChg chg="add mod">
            <ac:chgData name="seiboldf.tmb22" userId="df3edf2f-3342-4456-80d3-fdc875e3af8c" providerId="ADAL" clId="{DC9DFF52-CCAB-48E3-8D23-5CFF701C4698}" dt="2025-06-09T15:03:07.524" v="673"/>
            <ac:picMkLst>
              <pc:docMk/>
              <pc:sldMasterMk cId="2846167297" sldId="2147483677"/>
              <pc:sldLayoutMk cId="3747579019" sldId="2147483680"/>
              <ac:picMk id="5" creationId="{F7454C62-4BC1-5EAB-C88B-2AFEA8E32778}"/>
            </ac:picMkLst>
          </pc:picChg>
        </pc:sldLayoutChg>
      </pc:sldMasterChg>
      <pc:sldMasterChg chg="addSp delSp modSp mod">
        <pc:chgData name="seiboldf.tmb22" userId="df3edf2f-3342-4456-80d3-fdc875e3af8c" providerId="ADAL" clId="{DC9DFF52-CCAB-48E3-8D23-5CFF701C4698}" dt="2025-06-09T14:03:33.216" v="475"/>
        <pc:sldMasterMkLst>
          <pc:docMk/>
          <pc:sldMasterMk cId="535054833" sldId="2147483709"/>
        </pc:sldMasterMkLst>
        <pc:spChg chg="mod">
          <ac:chgData name="seiboldf.tmb22" userId="df3edf2f-3342-4456-80d3-fdc875e3af8c" providerId="ADAL" clId="{DC9DFF52-CCAB-48E3-8D23-5CFF701C4698}" dt="2025-06-09T14:03:32.861" v="419" actId="948"/>
          <ac:spMkLst>
            <pc:docMk/>
            <pc:sldMasterMk cId="535054833" sldId="2147483709"/>
            <ac:spMk id="2" creationId="{D05371EF-857A-4846-8F90-CC9DD08CCCCE}"/>
          </ac:spMkLst>
        </pc:spChg>
        <pc:graphicFrameChg chg="add mod ord modVis">
          <ac:chgData name="seiboldf.tmb22" userId="df3edf2f-3342-4456-80d3-fdc875e3af8c" providerId="ADAL" clId="{DC9DFF52-CCAB-48E3-8D23-5CFF701C4698}" dt="2025-06-09T14:03:33.216" v="475"/>
          <ac:graphicFrameMkLst>
            <pc:docMk/>
            <pc:sldMasterMk cId="535054833" sldId="2147483709"/>
            <ac:graphicFrameMk id="8" creationId="{C93DD136-BEC3-96AB-4372-1CBC787F8572}"/>
          </ac:graphicFrameMkLst>
        </pc:graphicFrameChg>
      </pc:sldMasterChg>
    </pc:docChg>
  </pc:docChgLst>
  <pc:docChgLst>
    <pc:chgData name="bullingerm.tmt22" userId="S::bullingerm.tmt22@student.dhbw-heidenheim.de::9ce3b8b2-035f-4175-b301-998b03a50e38" providerId="AD" clId="Web-{DC833E61-EB55-8EC7-44F1-E7312E6F03CD}"/>
    <pc:docChg chg="modSld">
      <pc:chgData name="bullingerm.tmt22" userId="S::bullingerm.tmt22@student.dhbw-heidenheim.de::9ce3b8b2-035f-4175-b301-998b03a50e38" providerId="AD" clId="Web-{DC833E61-EB55-8EC7-44F1-E7312E6F03CD}" dt="2025-03-31T18:26:36.489" v="1" actId="20577"/>
      <pc:docMkLst>
        <pc:docMk/>
      </pc:docMkLst>
      <pc:sldChg chg="modSp">
        <pc:chgData name="bullingerm.tmt22" userId="S::bullingerm.tmt22@student.dhbw-heidenheim.de::9ce3b8b2-035f-4175-b301-998b03a50e38" providerId="AD" clId="Web-{DC833E61-EB55-8EC7-44F1-E7312E6F03CD}" dt="2025-03-31T18:26:36.489" v="1" actId="20577"/>
        <pc:sldMkLst>
          <pc:docMk/>
          <pc:sldMk cId="52686789" sldId="631"/>
        </pc:sldMkLst>
      </pc:sldChg>
    </pc:docChg>
  </pc:docChgLst>
  <pc:docChgLst>
    <pc:chgData clId="Web-{94CA78CC-122A-D113-5EC1-6FE7DC1F767C}"/>
    <pc:docChg chg="sldOrd">
      <pc:chgData name="" userId="" providerId="" clId="Web-{94CA78CC-122A-D113-5EC1-6FE7DC1F767C}" dt="2025-06-09T13:34:00.800" v="0"/>
      <pc:docMkLst>
        <pc:docMk/>
      </pc:docMkLst>
      <pc:sldChg chg="ord">
        <pc:chgData name="" userId="" providerId="" clId="Web-{94CA78CC-122A-D113-5EC1-6FE7DC1F767C}" dt="2025-06-09T13:34:00.800" v="0"/>
        <pc:sldMkLst>
          <pc:docMk/>
          <pc:sldMk cId="694590139" sldId="690"/>
        </pc:sldMkLst>
      </pc:sldChg>
    </pc:docChg>
  </pc:docChgLst>
  <pc:docChgLst>
    <pc:chgData name="bullingerm.tmt22" userId="S::bullingerm.tmt22@student.dhbw-heidenheim.de::9ce3b8b2-035f-4175-b301-998b03a50e38" providerId="AD" clId="Web-{F129EB6E-CF15-603E-CB24-D663C5CC0FC8}"/>
    <pc:docChg chg="modSld">
      <pc:chgData name="bullingerm.tmt22" userId="S::bullingerm.tmt22@student.dhbw-heidenheim.de::9ce3b8b2-035f-4175-b301-998b03a50e38" providerId="AD" clId="Web-{F129EB6E-CF15-603E-CB24-D663C5CC0FC8}" dt="2025-04-22T12:58:39.921" v="1" actId="1076"/>
      <pc:docMkLst>
        <pc:docMk/>
      </pc:docMkLst>
      <pc:sldChg chg="addSp modSp">
        <pc:chgData name="bullingerm.tmt22" userId="S::bullingerm.tmt22@student.dhbw-heidenheim.de::9ce3b8b2-035f-4175-b301-998b03a50e38" providerId="AD" clId="Web-{F129EB6E-CF15-603E-CB24-D663C5CC0FC8}" dt="2025-04-22T12:58:39.921" v="1" actId="1076"/>
        <pc:sldMkLst>
          <pc:docMk/>
          <pc:sldMk cId="1591261179" sldId="685"/>
        </pc:sldMkLst>
      </pc:sldChg>
    </pc:docChg>
  </pc:docChgLst>
  <pc:docChgLst>
    <pc:chgData name="staehlef.tmb22" userId="737d0583-0f84-4afa-9d32-9dff97d0f705" providerId="ADAL" clId="{9BFB086F-8080-FD40-8937-0CE9D6D1E221}"/>
    <pc:docChg chg="modSld">
      <pc:chgData name="staehlef.tmb22" userId="737d0583-0f84-4afa-9d32-9dff97d0f705" providerId="ADAL" clId="{9BFB086F-8080-FD40-8937-0CE9D6D1E221}" dt="2025-04-01T10:33:42.792" v="13" actId="20577"/>
      <pc:docMkLst>
        <pc:docMk/>
      </pc:docMkLst>
    </pc:docChg>
  </pc:docChgLst>
  <pc:docChgLst>
    <pc:chgData clId="Web-{0D65E75B-CCCE-E209-DF08-AD0F40546CC4}"/>
    <pc:docChg chg="modSld">
      <pc:chgData name="" userId="" providerId="" clId="Web-{0D65E75B-CCCE-E209-DF08-AD0F40546CC4}" dt="2025-06-09T09:12:34.769" v="1" actId="1076"/>
      <pc:docMkLst>
        <pc:docMk/>
      </pc:docMkLst>
      <pc:sldChg chg="modSp">
        <pc:chgData name="" userId="" providerId="" clId="Web-{0D65E75B-CCCE-E209-DF08-AD0F40546CC4}" dt="2025-06-09T09:12:34.769" v="1" actId="1076"/>
        <pc:sldMkLst>
          <pc:docMk/>
          <pc:sldMk cId="3664439336" sldId="262"/>
        </pc:sldMkLst>
        <pc:spChg chg="mod">
          <ac:chgData name="" userId="" providerId="" clId="Web-{0D65E75B-CCCE-E209-DF08-AD0F40546CC4}" dt="2025-06-09T09:12:31.628" v="0" actId="14100"/>
          <ac:spMkLst>
            <pc:docMk/>
            <pc:sldMk cId="3664439336" sldId="262"/>
            <ac:spMk id="3" creationId="{3D5704D4-182D-2081-A931-337F4856B6A2}"/>
          </ac:spMkLst>
        </pc:spChg>
        <pc:picChg chg="mod">
          <ac:chgData name="" userId="" providerId="" clId="Web-{0D65E75B-CCCE-E209-DF08-AD0F40546CC4}" dt="2025-06-09T09:12:34.769" v="1" actId="1076"/>
          <ac:picMkLst>
            <pc:docMk/>
            <pc:sldMk cId="3664439336" sldId="262"/>
            <ac:picMk id="9" creationId="{3A07768B-93B0-C166-FD21-A24D61D93A54}"/>
          </ac:picMkLst>
        </pc:picChg>
      </pc:sldChg>
    </pc:docChg>
  </pc:docChgLst>
  <pc:docChgLst>
    <pc:chgData name="reilec.tmb22" userId="S::reilec.tmb22@student.dhbw-heidenheim.de::0b7e6988-e521-4a1e-900b-efd6b80549e1" providerId="AD" clId="Web-{A3BFB665-5B55-51E3-7D2A-394AE944FF67}"/>
    <pc:docChg chg="modSld">
      <pc:chgData name="reilec.tmb22" userId="S::reilec.tmb22@student.dhbw-heidenheim.de::0b7e6988-e521-4a1e-900b-efd6b80549e1" providerId="AD" clId="Web-{A3BFB665-5B55-51E3-7D2A-394AE944FF67}" dt="2025-04-22T13:42:26.612" v="10" actId="1076"/>
      <pc:docMkLst>
        <pc:docMk/>
      </pc:docMkLst>
      <pc:sldChg chg="modSp">
        <pc:chgData name="reilec.tmb22" userId="S::reilec.tmb22@student.dhbw-heidenheim.de::0b7e6988-e521-4a1e-900b-efd6b80549e1" providerId="AD" clId="Web-{A3BFB665-5B55-51E3-7D2A-394AE944FF67}" dt="2025-04-22T13:42:26.612" v="10" actId="1076"/>
        <pc:sldMkLst>
          <pc:docMk/>
          <pc:sldMk cId="1314778286" sldId="668"/>
        </pc:sldMkLst>
      </pc:sldChg>
      <pc:sldChg chg="modSp">
        <pc:chgData name="reilec.tmb22" userId="S::reilec.tmb22@student.dhbw-heidenheim.de::0b7e6988-e521-4a1e-900b-efd6b80549e1" providerId="AD" clId="Web-{A3BFB665-5B55-51E3-7D2A-394AE944FF67}" dt="2025-04-22T13:41:49.813" v="2" actId="1076"/>
        <pc:sldMkLst>
          <pc:docMk/>
          <pc:sldMk cId="1086977521" sldId="669"/>
        </pc:sldMkLst>
      </pc:sldChg>
    </pc:docChg>
  </pc:docChgLst>
  <pc:docChgLst>
    <pc:chgData name="reilec.tmb22" userId="0b7e6988-e521-4a1e-900b-efd6b80549e1" providerId="ADAL" clId="{773966CE-92C3-40AD-BCCF-6F6A2CB71F58}"/>
    <pc:docChg chg="undo redo custSel addSld delSld modSld sldOrd modSection">
      <pc:chgData name="reilec.tmb22" userId="0b7e6988-e521-4a1e-900b-efd6b80549e1" providerId="ADAL" clId="{773966CE-92C3-40AD-BCCF-6F6A2CB71F58}" dt="2025-06-09T16:59:32.458" v="7297" actId="3626"/>
      <pc:docMkLst>
        <pc:docMk/>
      </pc:docMkLst>
      <pc:sldChg chg="addSp delSp modSp mod">
        <pc:chgData name="reilec.tmb22" userId="0b7e6988-e521-4a1e-900b-efd6b80549e1" providerId="ADAL" clId="{773966CE-92C3-40AD-BCCF-6F6A2CB71F58}" dt="2025-06-09T16:59:01.439" v="7291"/>
        <pc:sldMkLst>
          <pc:docMk/>
          <pc:sldMk cId="1339647628" sldId="586"/>
        </pc:sldMkLst>
        <pc:spChg chg="mod">
          <ac:chgData name="reilec.tmb22" userId="0b7e6988-e521-4a1e-900b-efd6b80549e1" providerId="ADAL" clId="{773966CE-92C3-40AD-BCCF-6F6A2CB71F58}" dt="2025-06-09T16:59:01.439" v="7291"/>
          <ac:spMkLst>
            <pc:docMk/>
            <pc:sldMk cId="1339647628" sldId="586"/>
            <ac:spMk id="639" creationId="{4B33A7E3-CD6B-1D47-D385-F5697DB39079}"/>
          </ac:spMkLst>
        </pc:spChg>
        <pc:spChg chg="mod">
          <ac:chgData name="reilec.tmb22" userId="0b7e6988-e521-4a1e-900b-efd6b80549e1" providerId="ADAL" clId="{773966CE-92C3-40AD-BCCF-6F6A2CB71F58}" dt="2025-06-09T16:58:27.549" v="7287"/>
          <ac:spMkLst>
            <pc:docMk/>
            <pc:sldMk cId="1339647628" sldId="586"/>
            <ac:spMk id="642" creationId="{644BCB15-2DBB-B3DF-CF52-C8E9741682AD}"/>
          </ac:spMkLst>
        </pc:spChg>
        <pc:spChg chg="mod">
          <ac:chgData name="reilec.tmb22" userId="0b7e6988-e521-4a1e-900b-efd6b80549e1" providerId="ADAL" clId="{773966CE-92C3-40AD-BCCF-6F6A2CB71F58}" dt="2025-06-09T16:58:16.111" v="7286"/>
          <ac:spMkLst>
            <pc:docMk/>
            <pc:sldMk cId="1339647628" sldId="586"/>
            <ac:spMk id="645" creationId="{07EAC01C-8423-0782-4765-4491E85C8EC5}"/>
          </ac:spMkLst>
        </pc:spChg>
        <pc:spChg chg="mod">
          <ac:chgData name="reilec.tmb22" userId="0b7e6988-e521-4a1e-900b-efd6b80549e1" providerId="ADAL" clId="{773966CE-92C3-40AD-BCCF-6F6A2CB71F58}" dt="2025-06-09T16:58:36.161" v="7288"/>
          <ac:spMkLst>
            <pc:docMk/>
            <pc:sldMk cId="1339647628" sldId="586"/>
            <ac:spMk id="648" creationId="{BBAC7757-1FFD-E2DC-ED30-10851862F5A7}"/>
          </ac:spMkLst>
        </pc:spChg>
        <pc:spChg chg="mod">
          <ac:chgData name="reilec.tmb22" userId="0b7e6988-e521-4a1e-900b-efd6b80549e1" providerId="ADAL" clId="{773966CE-92C3-40AD-BCCF-6F6A2CB71F58}" dt="2025-06-09T16:58:44.567" v="7289"/>
          <ac:spMkLst>
            <pc:docMk/>
            <pc:sldMk cId="1339647628" sldId="586"/>
            <ac:spMk id="651" creationId="{A9DC67A8-C3B8-8257-E624-EDFAF6904757}"/>
          </ac:spMkLst>
        </pc:spChg>
        <pc:spChg chg="mod">
          <ac:chgData name="reilec.tmb22" userId="0b7e6988-e521-4a1e-900b-efd6b80549e1" providerId="ADAL" clId="{773966CE-92C3-40AD-BCCF-6F6A2CB71F58}" dt="2025-06-09T16:58:55.522" v="7290"/>
          <ac:spMkLst>
            <pc:docMk/>
            <pc:sldMk cId="1339647628" sldId="586"/>
            <ac:spMk id="654" creationId="{97E2B884-2D28-CE00-D4E9-C48E3628E8F6}"/>
          </ac:spMkLst>
        </pc:spChg>
      </pc:sldChg>
      <pc:sldChg chg="del">
        <pc:chgData name="reilec.tmb22" userId="0b7e6988-e521-4a1e-900b-efd6b80549e1" providerId="ADAL" clId="{773966CE-92C3-40AD-BCCF-6F6A2CB71F58}" dt="2025-06-08T19:01:46.559" v="264" actId="47"/>
        <pc:sldMkLst>
          <pc:docMk/>
          <pc:sldMk cId="3265104741" sldId="642"/>
        </pc:sldMkLst>
      </pc:sldChg>
      <pc:sldChg chg="add del">
        <pc:chgData name="reilec.tmb22" userId="0b7e6988-e521-4a1e-900b-efd6b80549e1" providerId="ADAL" clId="{773966CE-92C3-40AD-BCCF-6F6A2CB71F58}" dt="2025-06-08T19:05:12.279" v="419" actId="47"/>
        <pc:sldMkLst>
          <pc:docMk/>
          <pc:sldMk cId="241794236" sldId="643"/>
        </pc:sldMkLst>
      </pc:sldChg>
      <pc:sldChg chg="addSp modSp">
        <pc:chgData name="reilec.tmb22" userId="0b7e6988-e521-4a1e-900b-efd6b80549e1" providerId="ADAL" clId="{773966CE-92C3-40AD-BCCF-6F6A2CB71F58}" dt="2025-06-09T08:10:29.404" v="1246"/>
        <pc:sldMkLst>
          <pc:docMk/>
          <pc:sldMk cId="2269644659" sldId="650"/>
        </pc:sldMkLst>
        <pc:cxnChg chg="add mod">
          <ac:chgData name="reilec.tmb22" userId="0b7e6988-e521-4a1e-900b-efd6b80549e1" providerId="ADAL" clId="{773966CE-92C3-40AD-BCCF-6F6A2CB71F58}" dt="2025-06-09T08:10:29.404" v="1246"/>
          <ac:cxnSpMkLst>
            <pc:docMk/>
            <pc:sldMk cId="2269644659" sldId="650"/>
            <ac:cxnSpMk id="2" creationId="{4A58A135-FD39-88E7-7132-ECF4EDDCC04A}"/>
          </ac:cxnSpMkLst>
        </pc:cxnChg>
      </pc:sldChg>
      <pc:sldChg chg="addSp delSp modSp mod ord">
        <pc:chgData name="reilec.tmb22" userId="0b7e6988-e521-4a1e-900b-efd6b80549e1" providerId="ADAL" clId="{773966CE-92C3-40AD-BCCF-6F6A2CB71F58}" dt="2025-06-09T16:48:50.774" v="7283" actId="20577"/>
        <pc:sldMkLst>
          <pc:docMk/>
          <pc:sldMk cId="3141788730" sldId="665"/>
        </pc:sldMkLst>
        <pc:spChg chg="mod">
          <ac:chgData name="reilec.tmb22" userId="0b7e6988-e521-4a1e-900b-efd6b80549e1" providerId="ADAL" clId="{773966CE-92C3-40AD-BCCF-6F6A2CB71F58}" dt="2025-06-09T16:15:50.843" v="7129" actId="20577"/>
          <ac:spMkLst>
            <pc:docMk/>
            <pc:sldMk cId="3141788730" sldId="665"/>
            <ac:spMk id="2" creationId="{22A87423-4680-96A4-0E83-376D08B9CAC6}"/>
          </ac:spMkLst>
        </pc:spChg>
        <pc:spChg chg="mod">
          <ac:chgData name="reilec.tmb22" userId="0b7e6988-e521-4a1e-900b-efd6b80549e1" providerId="ADAL" clId="{773966CE-92C3-40AD-BCCF-6F6A2CB71F58}" dt="2025-06-09T16:16:06.472" v="7150" actId="20577"/>
          <ac:spMkLst>
            <pc:docMk/>
            <pc:sldMk cId="3141788730" sldId="665"/>
            <ac:spMk id="3" creationId="{52E3728C-58F2-1E3C-62C9-A0BEF2721312}"/>
          </ac:spMkLst>
        </pc:spChg>
        <pc:spChg chg="mod">
          <ac:chgData name="reilec.tmb22" userId="0b7e6988-e521-4a1e-900b-efd6b80549e1" providerId="ADAL" clId="{773966CE-92C3-40AD-BCCF-6F6A2CB71F58}" dt="2025-06-09T16:48:50.774" v="7283" actId="20577"/>
          <ac:spMkLst>
            <pc:docMk/>
            <pc:sldMk cId="3141788730" sldId="665"/>
            <ac:spMk id="7" creationId="{AFCE89D9-849E-F028-7BE9-A9187E0A5535}"/>
          </ac:spMkLst>
        </pc:spChg>
        <pc:picChg chg="add mod">
          <ac:chgData name="reilec.tmb22" userId="0b7e6988-e521-4a1e-900b-efd6b80549e1" providerId="ADAL" clId="{773966CE-92C3-40AD-BCCF-6F6A2CB71F58}" dt="2025-06-09T13:38:28.665" v="2756" actId="27614"/>
          <ac:picMkLst>
            <pc:docMk/>
            <pc:sldMk cId="3141788730" sldId="665"/>
            <ac:picMk id="8" creationId="{82261F73-7152-A373-CF8C-6D6F1F4B9DF8}"/>
          </ac:picMkLst>
        </pc:picChg>
      </pc:sldChg>
      <pc:sldChg chg="addSp delSp modSp mod">
        <pc:chgData name="reilec.tmb22" userId="0b7e6988-e521-4a1e-900b-efd6b80549e1" providerId="ADAL" clId="{773966CE-92C3-40AD-BCCF-6F6A2CB71F58}" dt="2025-06-09T08:54:50.557" v="2308" actId="478"/>
        <pc:sldMkLst>
          <pc:docMk/>
          <pc:sldMk cId="1314778286" sldId="668"/>
        </pc:sldMkLst>
      </pc:sldChg>
      <pc:sldChg chg="modSp mod">
        <pc:chgData name="reilec.tmb22" userId="0b7e6988-e521-4a1e-900b-efd6b80549e1" providerId="ADAL" clId="{773966CE-92C3-40AD-BCCF-6F6A2CB71F58}" dt="2025-06-09T13:46:57.117" v="2976" actId="688"/>
        <pc:sldMkLst>
          <pc:docMk/>
          <pc:sldMk cId="1520689549" sldId="676"/>
        </pc:sldMkLst>
      </pc:sldChg>
      <pc:sldChg chg="new del">
        <pc:chgData name="reilec.tmb22" userId="0b7e6988-e521-4a1e-900b-efd6b80549e1" providerId="ADAL" clId="{773966CE-92C3-40AD-BCCF-6F6A2CB71F58}" dt="2025-06-08T18:57:16.869" v="58" actId="680"/>
        <pc:sldMkLst>
          <pc:docMk/>
          <pc:sldMk cId="211842582" sldId="688"/>
        </pc:sldMkLst>
      </pc:sldChg>
      <pc:sldChg chg="delSp mod">
        <pc:chgData name="reilec.tmb22" userId="0b7e6988-e521-4a1e-900b-efd6b80549e1" providerId="ADAL" clId="{773966CE-92C3-40AD-BCCF-6F6A2CB71F58}" dt="2025-06-09T13:44:40.783" v="2944" actId="21"/>
        <pc:sldMkLst>
          <pc:docMk/>
          <pc:sldMk cId="310928573" sldId="688"/>
        </pc:sldMkLst>
      </pc:sldChg>
      <pc:sldChg chg="addSp modSp add mod">
        <pc:chgData name="reilec.tmb22" userId="0b7e6988-e521-4a1e-900b-efd6b80549e1" providerId="ADAL" clId="{773966CE-92C3-40AD-BCCF-6F6A2CB71F58}" dt="2025-06-08T19:42:06.262" v="1112" actId="14100"/>
        <pc:sldMkLst>
          <pc:docMk/>
          <pc:sldMk cId="2966888626" sldId="688"/>
        </pc:sldMkLst>
      </pc:sldChg>
      <pc:sldChg chg="new del">
        <pc:chgData name="reilec.tmb22" userId="0b7e6988-e521-4a1e-900b-efd6b80549e1" providerId="ADAL" clId="{773966CE-92C3-40AD-BCCF-6F6A2CB71F58}" dt="2025-06-08T19:03:27.920" v="275" actId="47"/>
        <pc:sldMkLst>
          <pc:docMk/>
          <pc:sldMk cId="1445580233" sldId="689"/>
        </pc:sldMkLst>
      </pc:sldChg>
      <pc:sldChg chg="modSp new del mod">
        <pc:chgData name="reilec.tmb22" userId="0b7e6988-e521-4a1e-900b-efd6b80549e1" providerId="ADAL" clId="{773966CE-92C3-40AD-BCCF-6F6A2CB71F58}" dt="2025-06-09T15:19:19.271" v="4607" actId="2696"/>
        <pc:sldMkLst>
          <pc:docMk/>
          <pc:sldMk cId="3946082509" sldId="689"/>
        </pc:sldMkLst>
      </pc:sldChg>
      <pc:sldChg chg="modSp add mod ord">
        <pc:chgData name="reilec.tmb22" userId="0b7e6988-e521-4a1e-900b-efd6b80549e1" providerId="ADAL" clId="{773966CE-92C3-40AD-BCCF-6F6A2CB71F58}" dt="2025-06-08T19:42:34.127" v="1115" actId="1076"/>
        <pc:sldMkLst>
          <pc:docMk/>
          <pc:sldMk cId="694590139" sldId="690"/>
        </pc:sldMkLst>
        <pc:spChg chg="mod">
          <ac:chgData name="reilec.tmb22" userId="0b7e6988-e521-4a1e-900b-efd6b80549e1" providerId="ADAL" clId="{773966CE-92C3-40AD-BCCF-6F6A2CB71F58}" dt="2025-06-08T19:42:34.127" v="1115" actId="1076"/>
          <ac:spMkLst>
            <pc:docMk/>
            <pc:sldMk cId="694590139" sldId="690"/>
            <ac:spMk id="3" creationId="{F7111CE1-ED4D-2295-0AF9-3853CD16710F}"/>
          </ac:spMkLst>
        </pc:spChg>
        <pc:spChg chg="mod">
          <ac:chgData name="reilec.tmb22" userId="0b7e6988-e521-4a1e-900b-efd6b80549e1" providerId="ADAL" clId="{773966CE-92C3-40AD-BCCF-6F6A2CB71F58}" dt="2025-06-08T19:05:28.646" v="422" actId="207"/>
          <ac:spMkLst>
            <pc:docMk/>
            <pc:sldMk cId="694590139" sldId="690"/>
            <ac:spMk id="637" creationId="{2366BF5D-3FA6-0524-F1A5-38E44562C6AA}"/>
          </ac:spMkLst>
        </pc:spChg>
        <pc:spChg chg="mod">
          <ac:chgData name="reilec.tmb22" userId="0b7e6988-e521-4a1e-900b-efd6b80549e1" providerId="ADAL" clId="{773966CE-92C3-40AD-BCCF-6F6A2CB71F58}" dt="2025-06-08T19:05:23.328" v="421" actId="207"/>
          <ac:spMkLst>
            <pc:docMk/>
            <pc:sldMk cId="694590139" sldId="690"/>
            <ac:spMk id="639" creationId="{202E75C6-B36C-8AEA-EF5A-860673A60077}"/>
          </ac:spMkLst>
        </pc:spChg>
        <pc:spChg chg="mod">
          <ac:chgData name="reilec.tmb22" userId="0b7e6988-e521-4a1e-900b-efd6b80549e1" providerId="ADAL" clId="{773966CE-92C3-40AD-BCCF-6F6A2CB71F58}" dt="2025-06-08T19:05:37.178" v="423" actId="207"/>
          <ac:spMkLst>
            <pc:docMk/>
            <pc:sldMk cId="694590139" sldId="690"/>
            <ac:spMk id="641" creationId="{601CF6A2-20D2-6D1E-37B5-8B45C6A17283}"/>
          </ac:spMkLst>
        </pc:spChg>
        <pc:spChg chg="mod">
          <ac:chgData name="reilec.tmb22" userId="0b7e6988-e521-4a1e-900b-efd6b80549e1" providerId="ADAL" clId="{773966CE-92C3-40AD-BCCF-6F6A2CB71F58}" dt="2025-06-08T19:05:43.769" v="425" actId="207"/>
          <ac:spMkLst>
            <pc:docMk/>
            <pc:sldMk cId="694590139" sldId="690"/>
            <ac:spMk id="642" creationId="{5D5E219B-49FB-6543-9DFB-64A1F2371727}"/>
          </ac:spMkLst>
        </pc:spChg>
      </pc:sldChg>
      <pc:sldChg chg="modSp add mod ord">
        <pc:chgData name="reilec.tmb22" userId="0b7e6988-e521-4a1e-900b-efd6b80549e1" providerId="ADAL" clId="{773966CE-92C3-40AD-BCCF-6F6A2CB71F58}" dt="2025-06-08T19:21:18.640" v="642" actId="207"/>
        <pc:sldMkLst>
          <pc:docMk/>
          <pc:sldMk cId="2264102707" sldId="691"/>
        </pc:sldMkLst>
        <pc:spChg chg="mod">
          <ac:chgData name="reilec.tmb22" userId="0b7e6988-e521-4a1e-900b-efd6b80549e1" providerId="ADAL" clId="{773966CE-92C3-40AD-BCCF-6F6A2CB71F58}" dt="2025-06-08T19:20:29.555" v="635" actId="14100"/>
          <ac:spMkLst>
            <pc:docMk/>
            <pc:sldMk cId="2264102707" sldId="691"/>
            <ac:spMk id="3" creationId="{D7FD14B9-3904-A5A2-5829-FB78A62E09C8}"/>
          </ac:spMkLst>
        </pc:spChg>
        <pc:spChg chg="mod">
          <ac:chgData name="reilec.tmb22" userId="0b7e6988-e521-4a1e-900b-efd6b80549e1" providerId="ADAL" clId="{773966CE-92C3-40AD-BCCF-6F6A2CB71F58}" dt="2025-06-08T19:21:18.640" v="642" actId="207"/>
          <ac:spMkLst>
            <pc:docMk/>
            <pc:sldMk cId="2264102707" sldId="691"/>
            <ac:spMk id="641" creationId="{BF7F0DD3-B58F-8F40-BDB8-BEF6CBA75BC7}"/>
          </ac:spMkLst>
        </pc:spChg>
        <pc:spChg chg="mod">
          <ac:chgData name="reilec.tmb22" userId="0b7e6988-e521-4a1e-900b-efd6b80549e1" providerId="ADAL" clId="{773966CE-92C3-40AD-BCCF-6F6A2CB71F58}" dt="2025-06-08T19:21:14.780" v="641" actId="207"/>
          <ac:spMkLst>
            <pc:docMk/>
            <pc:sldMk cId="2264102707" sldId="691"/>
            <ac:spMk id="642" creationId="{BDD6F486-B5B6-61B8-64CE-3873C9659F35}"/>
          </ac:spMkLst>
        </pc:spChg>
        <pc:spChg chg="mod">
          <ac:chgData name="reilec.tmb22" userId="0b7e6988-e521-4a1e-900b-efd6b80549e1" providerId="ADAL" clId="{773966CE-92C3-40AD-BCCF-6F6A2CB71F58}" dt="2025-06-08T19:21:11.936" v="640" actId="207"/>
          <ac:spMkLst>
            <pc:docMk/>
            <pc:sldMk cId="2264102707" sldId="691"/>
            <ac:spMk id="644" creationId="{54814FB1-5611-97D5-278B-12BA205A9F5A}"/>
          </ac:spMkLst>
        </pc:spChg>
        <pc:spChg chg="mod">
          <ac:chgData name="reilec.tmb22" userId="0b7e6988-e521-4a1e-900b-efd6b80549e1" providerId="ADAL" clId="{773966CE-92C3-40AD-BCCF-6F6A2CB71F58}" dt="2025-06-08T19:21:05.606" v="639" actId="207"/>
          <ac:spMkLst>
            <pc:docMk/>
            <pc:sldMk cId="2264102707" sldId="691"/>
            <ac:spMk id="645" creationId="{5E52E3CF-058C-4D31-0E3A-A27AE6B7E857}"/>
          </ac:spMkLst>
        </pc:spChg>
      </pc:sldChg>
      <pc:sldChg chg="modSp new mod">
        <pc:chgData name="reilec.tmb22" userId="0b7e6988-e521-4a1e-900b-efd6b80549e1" providerId="ADAL" clId="{773966CE-92C3-40AD-BCCF-6F6A2CB71F58}" dt="2025-06-08T19:20:03.243" v="630" actId="20577"/>
        <pc:sldMkLst>
          <pc:docMk/>
          <pc:sldMk cId="2952675275" sldId="692"/>
        </pc:sldMkLst>
      </pc:sldChg>
      <pc:sldChg chg="modSp add mod">
        <pc:chgData name="reilec.tmb22" userId="0b7e6988-e521-4a1e-900b-efd6b80549e1" providerId="ADAL" clId="{773966CE-92C3-40AD-BCCF-6F6A2CB71F58}" dt="2025-06-08T19:33:06.466" v="657" actId="14100"/>
        <pc:sldMkLst>
          <pc:docMk/>
          <pc:sldMk cId="1448461996" sldId="693"/>
        </pc:sldMkLst>
        <pc:spChg chg="mod">
          <ac:chgData name="reilec.tmb22" userId="0b7e6988-e521-4a1e-900b-efd6b80549e1" providerId="ADAL" clId="{773966CE-92C3-40AD-BCCF-6F6A2CB71F58}" dt="2025-06-08T19:33:06.466" v="657" actId="14100"/>
          <ac:spMkLst>
            <pc:docMk/>
            <pc:sldMk cId="1448461996" sldId="693"/>
            <ac:spMk id="3" creationId="{2C0BD208-A2D7-F8D7-F322-94C9F03B0423}"/>
          </ac:spMkLst>
        </pc:spChg>
        <pc:spChg chg="mod">
          <ac:chgData name="reilec.tmb22" userId="0b7e6988-e521-4a1e-900b-efd6b80549e1" providerId="ADAL" clId="{773966CE-92C3-40AD-BCCF-6F6A2CB71F58}" dt="2025-06-08T19:32:00.936" v="644" actId="207"/>
          <ac:spMkLst>
            <pc:docMk/>
            <pc:sldMk cId="1448461996" sldId="693"/>
            <ac:spMk id="644" creationId="{531DABC1-E6D8-69FB-9E9E-1F21E380196F}"/>
          </ac:spMkLst>
        </pc:spChg>
        <pc:spChg chg="mod">
          <ac:chgData name="reilec.tmb22" userId="0b7e6988-e521-4a1e-900b-efd6b80549e1" providerId="ADAL" clId="{773966CE-92C3-40AD-BCCF-6F6A2CB71F58}" dt="2025-06-08T19:32:06.342" v="645" actId="207"/>
          <ac:spMkLst>
            <pc:docMk/>
            <pc:sldMk cId="1448461996" sldId="693"/>
            <ac:spMk id="645" creationId="{1B835589-2F38-F693-37C1-01673E86979B}"/>
          </ac:spMkLst>
        </pc:spChg>
        <pc:spChg chg="mod">
          <ac:chgData name="reilec.tmb22" userId="0b7e6988-e521-4a1e-900b-efd6b80549e1" providerId="ADAL" clId="{773966CE-92C3-40AD-BCCF-6F6A2CB71F58}" dt="2025-06-08T19:32:24.143" v="649" actId="207"/>
          <ac:spMkLst>
            <pc:docMk/>
            <pc:sldMk cId="1448461996" sldId="693"/>
            <ac:spMk id="647" creationId="{3D9824FC-97D2-A13C-9763-ECC398B1FE00}"/>
          </ac:spMkLst>
        </pc:spChg>
        <pc:spChg chg="mod">
          <ac:chgData name="reilec.tmb22" userId="0b7e6988-e521-4a1e-900b-efd6b80549e1" providerId="ADAL" clId="{773966CE-92C3-40AD-BCCF-6F6A2CB71F58}" dt="2025-06-08T19:32:21.251" v="648" actId="207"/>
          <ac:spMkLst>
            <pc:docMk/>
            <pc:sldMk cId="1448461996" sldId="693"/>
            <ac:spMk id="648" creationId="{49F03FF7-B055-0624-ADA8-BD8F97B33AF1}"/>
          </ac:spMkLst>
        </pc:spChg>
      </pc:sldChg>
      <pc:sldChg chg="new del">
        <pc:chgData name="reilec.tmb22" userId="0b7e6988-e521-4a1e-900b-efd6b80549e1" providerId="ADAL" clId="{773966CE-92C3-40AD-BCCF-6F6A2CB71F58}" dt="2025-06-08T19:32:30.039" v="651" actId="680"/>
        <pc:sldMkLst>
          <pc:docMk/>
          <pc:sldMk cId="1988388529" sldId="694"/>
        </pc:sldMkLst>
      </pc:sldChg>
      <pc:sldChg chg="modSp add mod">
        <pc:chgData name="reilec.tmb22" userId="0b7e6988-e521-4a1e-900b-efd6b80549e1" providerId="ADAL" clId="{773966CE-92C3-40AD-BCCF-6F6A2CB71F58}" dt="2025-06-09T16:56:48.553" v="7285" actId="1076"/>
        <pc:sldMkLst>
          <pc:docMk/>
          <pc:sldMk cId="2112630077" sldId="694"/>
        </pc:sldMkLst>
        <pc:spChg chg="mod">
          <ac:chgData name="reilec.tmb22" userId="0b7e6988-e521-4a1e-900b-efd6b80549e1" providerId="ADAL" clId="{773966CE-92C3-40AD-BCCF-6F6A2CB71F58}" dt="2025-06-09T16:56:48.553" v="7285" actId="1076"/>
          <ac:spMkLst>
            <pc:docMk/>
            <pc:sldMk cId="2112630077" sldId="694"/>
            <ac:spMk id="3" creationId="{C97819CB-BB34-32AB-4BD4-2E2CD03A8FDA}"/>
          </ac:spMkLst>
        </pc:spChg>
        <pc:spChg chg="mod">
          <ac:chgData name="reilec.tmb22" userId="0b7e6988-e521-4a1e-900b-efd6b80549e1" providerId="ADAL" clId="{773966CE-92C3-40AD-BCCF-6F6A2CB71F58}" dt="2025-06-08T19:33:38.635" v="662" actId="207"/>
          <ac:spMkLst>
            <pc:docMk/>
            <pc:sldMk cId="2112630077" sldId="694"/>
            <ac:spMk id="647" creationId="{1B915903-E772-2570-5E25-8482CFED73DD}"/>
          </ac:spMkLst>
        </pc:spChg>
        <pc:spChg chg="mod">
          <ac:chgData name="reilec.tmb22" userId="0b7e6988-e521-4a1e-900b-efd6b80549e1" providerId="ADAL" clId="{773966CE-92C3-40AD-BCCF-6F6A2CB71F58}" dt="2025-06-08T19:33:42.761" v="663" actId="207"/>
          <ac:spMkLst>
            <pc:docMk/>
            <pc:sldMk cId="2112630077" sldId="694"/>
            <ac:spMk id="648" creationId="{BCCB1687-462D-B3A4-D499-97611B700E58}"/>
          </ac:spMkLst>
        </pc:spChg>
        <pc:spChg chg="mod">
          <ac:chgData name="reilec.tmb22" userId="0b7e6988-e521-4a1e-900b-efd6b80549e1" providerId="ADAL" clId="{773966CE-92C3-40AD-BCCF-6F6A2CB71F58}" dt="2025-06-08T19:33:34.084" v="661" actId="207"/>
          <ac:spMkLst>
            <pc:docMk/>
            <pc:sldMk cId="2112630077" sldId="694"/>
            <ac:spMk id="650" creationId="{86918082-A63F-A097-26EA-82F6C8CC8859}"/>
          </ac:spMkLst>
        </pc:spChg>
        <pc:spChg chg="mod">
          <ac:chgData name="reilec.tmb22" userId="0b7e6988-e521-4a1e-900b-efd6b80549e1" providerId="ADAL" clId="{773966CE-92C3-40AD-BCCF-6F6A2CB71F58}" dt="2025-06-08T19:33:31.215" v="660" actId="207"/>
          <ac:spMkLst>
            <pc:docMk/>
            <pc:sldMk cId="2112630077" sldId="694"/>
            <ac:spMk id="651" creationId="{CE902007-C29F-D898-5BFF-8BBCFA282B5B}"/>
          </ac:spMkLst>
        </pc:spChg>
      </pc:sldChg>
      <pc:sldChg chg="new del">
        <pc:chgData name="reilec.tmb22" userId="0b7e6988-e521-4a1e-900b-efd6b80549e1" providerId="ADAL" clId="{773966CE-92C3-40AD-BCCF-6F6A2CB71F58}" dt="2025-06-08T19:34:13.889" v="669" actId="680"/>
        <pc:sldMkLst>
          <pc:docMk/>
          <pc:sldMk cId="1857027462" sldId="695"/>
        </pc:sldMkLst>
      </pc:sldChg>
      <pc:sldChg chg="modSp add mod">
        <pc:chgData name="reilec.tmb22" userId="0b7e6988-e521-4a1e-900b-efd6b80549e1" providerId="ADAL" clId="{773966CE-92C3-40AD-BCCF-6F6A2CB71F58}" dt="2025-06-08T19:35:16.406" v="678" actId="207"/>
        <pc:sldMkLst>
          <pc:docMk/>
          <pc:sldMk cId="2734418605" sldId="695"/>
        </pc:sldMkLst>
        <pc:spChg chg="mod">
          <ac:chgData name="reilec.tmb22" userId="0b7e6988-e521-4a1e-900b-efd6b80549e1" providerId="ADAL" clId="{773966CE-92C3-40AD-BCCF-6F6A2CB71F58}" dt="2025-06-08T19:34:58.855" v="675" actId="14100"/>
          <ac:spMkLst>
            <pc:docMk/>
            <pc:sldMk cId="2734418605" sldId="695"/>
            <ac:spMk id="3" creationId="{1727AF53-E80A-2ADD-C74F-DA2630D1EE26}"/>
          </ac:spMkLst>
        </pc:spChg>
        <pc:spChg chg="mod">
          <ac:chgData name="reilec.tmb22" userId="0b7e6988-e521-4a1e-900b-efd6b80549e1" providerId="ADAL" clId="{773966CE-92C3-40AD-BCCF-6F6A2CB71F58}" dt="2025-06-08T19:34:31.337" v="671" actId="207"/>
          <ac:spMkLst>
            <pc:docMk/>
            <pc:sldMk cId="2734418605" sldId="695"/>
            <ac:spMk id="650" creationId="{9B23108A-B54E-3D5C-8C1B-80054BE9C4B4}"/>
          </ac:spMkLst>
        </pc:spChg>
        <pc:spChg chg="mod">
          <ac:chgData name="reilec.tmb22" userId="0b7e6988-e521-4a1e-900b-efd6b80549e1" providerId="ADAL" clId="{773966CE-92C3-40AD-BCCF-6F6A2CB71F58}" dt="2025-06-08T19:34:35.111" v="672" actId="207"/>
          <ac:spMkLst>
            <pc:docMk/>
            <pc:sldMk cId="2734418605" sldId="695"/>
            <ac:spMk id="651" creationId="{D390DB27-912A-37B8-CCF3-222568145EAA}"/>
          </ac:spMkLst>
        </pc:spChg>
        <pc:spChg chg="mod">
          <ac:chgData name="reilec.tmb22" userId="0b7e6988-e521-4a1e-900b-efd6b80549e1" providerId="ADAL" clId="{773966CE-92C3-40AD-BCCF-6F6A2CB71F58}" dt="2025-06-08T19:35:16.406" v="678" actId="207"/>
          <ac:spMkLst>
            <pc:docMk/>
            <pc:sldMk cId="2734418605" sldId="695"/>
            <ac:spMk id="653" creationId="{A8D69FA1-A48C-8010-9EE0-FF7A31436907}"/>
          </ac:spMkLst>
        </pc:spChg>
        <pc:spChg chg="mod">
          <ac:chgData name="reilec.tmb22" userId="0b7e6988-e521-4a1e-900b-efd6b80549e1" providerId="ADAL" clId="{773966CE-92C3-40AD-BCCF-6F6A2CB71F58}" dt="2025-06-08T19:35:09.203" v="677" actId="207"/>
          <ac:spMkLst>
            <pc:docMk/>
            <pc:sldMk cId="2734418605" sldId="695"/>
            <ac:spMk id="654" creationId="{B9FD1DCF-A9E7-6588-FE5C-FBDEBA648A81}"/>
          </ac:spMkLst>
        </pc:spChg>
      </pc:sldChg>
      <pc:sldChg chg="modSp new del mod">
        <pc:chgData name="reilec.tmb22" userId="0b7e6988-e521-4a1e-900b-efd6b80549e1" providerId="ADAL" clId="{773966CE-92C3-40AD-BCCF-6F6A2CB71F58}" dt="2025-06-09T08:50:43.990" v="2306" actId="47"/>
        <pc:sldMkLst>
          <pc:docMk/>
          <pc:sldMk cId="180835164" sldId="696"/>
        </pc:sldMkLst>
      </pc:sldChg>
      <pc:sldChg chg="new del">
        <pc:chgData name="reilec.tmb22" userId="0b7e6988-e521-4a1e-900b-efd6b80549e1" providerId="ADAL" clId="{773966CE-92C3-40AD-BCCF-6F6A2CB71F58}" dt="2025-06-08T19:35:25.907" v="680" actId="680"/>
        <pc:sldMkLst>
          <pc:docMk/>
          <pc:sldMk cId="2560769487" sldId="696"/>
        </pc:sldMkLst>
      </pc:sldChg>
      <pc:sldChg chg="modSp new del mod">
        <pc:chgData name="reilec.tmb22" userId="0b7e6988-e521-4a1e-900b-efd6b80549e1" providerId="ADAL" clId="{773966CE-92C3-40AD-BCCF-6F6A2CB71F58}" dt="2025-06-09T16:17:45.883" v="7246" actId="2696"/>
        <pc:sldMkLst>
          <pc:docMk/>
          <pc:sldMk cId="2642269120" sldId="697"/>
        </pc:sldMkLst>
      </pc:sldChg>
      <pc:sldChg chg="modSp new mod">
        <pc:chgData name="reilec.tmb22" userId="0b7e6988-e521-4a1e-900b-efd6b80549e1" providerId="ADAL" clId="{773966CE-92C3-40AD-BCCF-6F6A2CB71F58}" dt="2025-06-08T19:38:49.662" v="1110" actId="20577"/>
        <pc:sldMkLst>
          <pc:docMk/>
          <pc:sldMk cId="3315224854" sldId="698"/>
        </pc:sldMkLst>
      </pc:sldChg>
      <pc:sldChg chg="addSp delSp modSp add mod ord">
        <pc:chgData name="reilec.tmb22" userId="0b7e6988-e521-4a1e-900b-efd6b80549e1" providerId="ADAL" clId="{773966CE-92C3-40AD-BCCF-6F6A2CB71F58}" dt="2025-06-09T08:55:13.187" v="2314"/>
        <pc:sldMkLst>
          <pc:docMk/>
          <pc:sldMk cId="4232673602" sldId="699"/>
        </pc:sldMkLst>
        <pc:spChg chg="add mod">
          <ac:chgData name="reilec.tmb22" userId="0b7e6988-e521-4a1e-900b-efd6b80549e1" providerId="ADAL" clId="{773966CE-92C3-40AD-BCCF-6F6A2CB71F58}" dt="2025-06-09T08:01:47.141" v="1196" actId="20577"/>
          <ac:spMkLst>
            <pc:docMk/>
            <pc:sldMk cId="4232673602" sldId="699"/>
            <ac:spMk id="2" creationId="{40560E2D-896C-35BF-C699-551640FAD256}"/>
          </ac:spMkLst>
        </pc:spChg>
        <pc:spChg chg="mod">
          <ac:chgData name="reilec.tmb22" userId="0b7e6988-e521-4a1e-900b-efd6b80549e1" providerId="ADAL" clId="{773966CE-92C3-40AD-BCCF-6F6A2CB71F58}" dt="2025-06-09T08:01:22.765" v="1190" actId="1037"/>
          <ac:spMkLst>
            <pc:docMk/>
            <pc:sldMk cId="4232673602" sldId="699"/>
            <ac:spMk id="23" creationId="{3ACDDAD5-72A0-F009-C279-6F28C7E9DA41}"/>
          </ac:spMkLst>
        </pc:spChg>
        <pc:spChg chg="add mod">
          <ac:chgData name="reilec.tmb22" userId="0b7e6988-e521-4a1e-900b-efd6b80549e1" providerId="ADAL" clId="{773966CE-92C3-40AD-BCCF-6F6A2CB71F58}" dt="2025-06-09T08:21:26.436" v="1437" actId="1076"/>
          <ac:spMkLst>
            <pc:docMk/>
            <pc:sldMk cId="4232673602" sldId="699"/>
            <ac:spMk id="39" creationId="{643B5DA6-F08A-702C-BDF8-B993BEDBF4A4}"/>
          </ac:spMkLst>
        </pc:spChg>
        <pc:cxnChg chg="add mod">
          <ac:chgData name="reilec.tmb22" userId="0b7e6988-e521-4a1e-900b-efd6b80549e1" providerId="ADAL" clId="{773966CE-92C3-40AD-BCCF-6F6A2CB71F58}" dt="2025-06-09T08:01:12.103" v="1172" actId="14100"/>
          <ac:cxnSpMkLst>
            <pc:docMk/>
            <pc:sldMk cId="4232673602" sldId="699"/>
            <ac:cxnSpMk id="3" creationId="{6C7A7DD0-C31A-E223-86EC-694902A4DD1D}"/>
          </ac:cxnSpMkLst>
        </pc:cxnChg>
        <pc:cxnChg chg="mod">
          <ac:chgData name="reilec.tmb22" userId="0b7e6988-e521-4a1e-900b-efd6b80549e1" providerId="ADAL" clId="{773966CE-92C3-40AD-BCCF-6F6A2CB71F58}" dt="2025-06-09T08:01:14.925" v="1173" actId="14100"/>
          <ac:cxnSpMkLst>
            <pc:docMk/>
            <pc:sldMk cId="4232673602" sldId="699"/>
            <ac:cxnSpMk id="36" creationId="{BD17FCAA-DB5D-A295-71A3-E9357C119C2A}"/>
          </ac:cxnSpMkLst>
        </pc:cxnChg>
        <pc:cxnChg chg="add mod">
          <ac:chgData name="reilec.tmb22" userId="0b7e6988-e521-4a1e-900b-efd6b80549e1" providerId="ADAL" clId="{773966CE-92C3-40AD-BCCF-6F6A2CB71F58}" dt="2025-06-09T08:01:36.994" v="1193" actId="1076"/>
          <ac:cxnSpMkLst>
            <pc:docMk/>
            <pc:sldMk cId="4232673602" sldId="699"/>
            <ac:cxnSpMk id="38" creationId="{EE4EEF57-330E-F6C3-27DC-A6FFF546E672}"/>
          </ac:cxnSpMkLst>
        </pc:cxnChg>
      </pc:sldChg>
      <pc:sldChg chg="addSp delSp modSp add mod">
        <pc:chgData name="reilec.tmb22" userId="0b7e6988-e521-4a1e-900b-efd6b80549e1" providerId="ADAL" clId="{773966CE-92C3-40AD-BCCF-6F6A2CB71F58}" dt="2025-06-09T08:25:52.296" v="1485" actId="20577"/>
        <pc:sldMkLst>
          <pc:docMk/>
          <pc:sldMk cId="196124364" sldId="700"/>
        </pc:sldMkLst>
        <pc:spChg chg="add mod">
          <ac:chgData name="reilec.tmb22" userId="0b7e6988-e521-4a1e-900b-efd6b80549e1" providerId="ADAL" clId="{773966CE-92C3-40AD-BCCF-6F6A2CB71F58}" dt="2025-06-09T08:25:52.296" v="1485" actId="20577"/>
          <ac:spMkLst>
            <pc:docMk/>
            <pc:sldMk cId="196124364" sldId="700"/>
            <ac:spMk id="5" creationId="{5ADCAE9F-C967-9231-6E8F-DCD9DADC6E89}"/>
          </ac:spMkLst>
        </pc:spChg>
        <pc:spChg chg="mod">
          <ac:chgData name="reilec.tmb22" userId="0b7e6988-e521-4a1e-900b-efd6b80549e1" providerId="ADAL" clId="{773966CE-92C3-40AD-BCCF-6F6A2CB71F58}" dt="2025-06-09T08:10:08.280" v="1242" actId="20577"/>
          <ac:spMkLst>
            <pc:docMk/>
            <pc:sldMk cId="196124364" sldId="700"/>
            <ac:spMk id="6" creationId="{318C6F56-26AD-BCBD-C877-B8167FBFDC99}"/>
          </ac:spMkLst>
        </pc:spChg>
        <pc:spChg chg="mod">
          <ac:chgData name="reilec.tmb22" userId="0b7e6988-e521-4a1e-900b-efd6b80549e1" providerId="ADAL" clId="{773966CE-92C3-40AD-BCCF-6F6A2CB71F58}" dt="2025-06-09T08:09:57.787" v="1216" actId="20577"/>
          <ac:spMkLst>
            <pc:docMk/>
            <pc:sldMk cId="196124364" sldId="700"/>
            <ac:spMk id="42" creationId="{930BDF6D-0F13-3A15-6F18-294680D65862}"/>
          </ac:spMkLst>
        </pc:spChg>
        <pc:spChg chg="add mod">
          <ac:chgData name="reilec.tmb22" userId="0b7e6988-e521-4a1e-900b-efd6b80549e1" providerId="ADAL" clId="{773966CE-92C3-40AD-BCCF-6F6A2CB71F58}" dt="2025-06-09T08:22:48.598" v="1448" actId="692"/>
          <ac:spMkLst>
            <pc:docMk/>
            <pc:sldMk cId="196124364" sldId="700"/>
            <ac:spMk id="43" creationId="{2341B2E8-49EC-86D0-85B2-F3A48FE94610}"/>
          </ac:spMkLst>
        </pc:spChg>
        <pc:spChg chg="add mod">
          <ac:chgData name="reilec.tmb22" userId="0b7e6988-e521-4a1e-900b-efd6b80549e1" providerId="ADAL" clId="{773966CE-92C3-40AD-BCCF-6F6A2CB71F58}" dt="2025-06-09T08:24:36.690" v="1458" actId="14100"/>
          <ac:spMkLst>
            <pc:docMk/>
            <pc:sldMk cId="196124364" sldId="700"/>
            <ac:spMk id="46" creationId="{214F95DF-1C0A-4CF0-76CD-BE73C479BAAC}"/>
          </ac:spMkLst>
        </pc:spChg>
        <pc:spChg chg="add mod">
          <ac:chgData name="reilec.tmb22" userId="0b7e6988-e521-4a1e-900b-efd6b80549e1" providerId="ADAL" clId="{773966CE-92C3-40AD-BCCF-6F6A2CB71F58}" dt="2025-06-09T08:25:47.381" v="1481" actId="1076"/>
          <ac:spMkLst>
            <pc:docMk/>
            <pc:sldMk cId="196124364" sldId="700"/>
            <ac:spMk id="47" creationId="{73AE8442-610E-D5FB-6A71-A5A47B0ABB86}"/>
          </ac:spMkLst>
        </pc:spChg>
        <pc:picChg chg="add mod">
          <ac:chgData name="reilec.tmb22" userId="0b7e6988-e521-4a1e-900b-efd6b80549e1" providerId="ADAL" clId="{773966CE-92C3-40AD-BCCF-6F6A2CB71F58}" dt="2025-06-09T08:19:29.007" v="1424" actId="1076"/>
          <ac:picMkLst>
            <pc:docMk/>
            <pc:sldMk cId="196124364" sldId="700"/>
            <ac:picMk id="39" creationId="{4436C2F8-8BA0-8FF9-A3E5-6F5EFFFDF9FD}"/>
          </ac:picMkLst>
        </pc:picChg>
        <pc:picChg chg="add mod">
          <ac:chgData name="reilec.tmb22" userId="0b7e6988-e521-4a1e-900b-efd6b80549e1" providerId="ADAL" clId="{773966CE-92C3-40AD-BCCF-6F6A2CB71F58}" dt="2025-06-09T08:19:36.411" v="1426" actId="1076"/>
          <ac:picMkLst>
            <pc:docMk/>
            <pc:sldMk cId="196124364" sldId="700"/>
            <ac:picMk id="41" creationId="{B2EA011A-F9B9-B725-E611-71741B6D42C2}"/>
          </ac:picMkLst>
        </pc:picChg>
      </pc:sldChg>
      <pc:sldChg chg="new del">
        <pc:chgData name="reilec.tmb22" userId="0b7e6988-e521-4a1e-900b-efd6b80549e1" providerId="ADAL" clId="{773966CE-92C3-40AD-BCCF-6F6A2CB71F58}" dt="2025-06-09T08:42:44.508" v="1838" actId="47"/>
        <pc:sldMkLst>
          <pc:docMk/>
          <pc:sldMk cId="3311237380" sldId="701"/>
        </pc:sldMkLst>
      </pc:sldChg>
      <pc:sldChg chg="addSp delSp modSp add mod">
        <pc:chgData name="reilec.tmb22" userId="0b7e6988-e521-4a1e-900b-efd6b80549e1" providerId="ADAL" clId="{773966CE-92C3-40AD-BCCF-6F6A2CB71F58}" dt="2025-06-09T08:50:20.320" v="2305" actId="962"/>
        <pc:sldMkLst>
          <pc:docMk/>
          <pc:sldMk cId="3336108815" sldId="702"/>
        </pc:sldMkLst>
        <pc:spChg chg="mod">
          <ac:chgData name="reilec.tmb22" userId="0b7e6988-e521-4a1e-900b-efd6b80549e1" providerId="ADAL" clId="{773966CE-92C3-40AD-BCCF-6F6A2CB71F58}" dt="2025-06-09T08:44:17.316" v="1888" actId="20577"/>
          <ac:spMkLst>
            <pc:docMk/>
            <pc:sldMk cId="3336108815" sldId="702"/>
            <ac:spMk id="6" creationId="{3300055F-A2F4-1974-D68B-3B70FB075671}"/>
          </ac:spMkLst>
        </pc:spChg>
        <pc:spChg chg="add del mod">
          <ac:chgData name="reilec.tmb22" userId="0b7e6988-e521-4a1e-900b-efd6b80549e1" providerId="ADAL" clId="{773966CE-92C3-40AD-BCCF-6F6A2CB71F58}" dt="2025-06-09T08:49:03.108" v="2298" actId="1035"/>
          <ac:spMkLst>
            <pc:docMk/>
            <pc:sldMk cId="3336108815" sldId="702"/>
            <ac:spMk id="8" creationId="{76CAE86A-727E-0401-8815-2CB43CF875CA}"/>
          </ac:spMkLst>
        </pc:spChg>
        <pc:spChg chg="add mod">
          <ac:chgData name="reilec.tmb22" userId="0b7e6988-e521-4a1e-900b-efd6b80549e1" providerId="ADAL" clId="{773966CE-92C3-40AD-BCCF-6F6A2CB71F58}" dt="2025-06-09T08:48:53.170" v="2292" actId="1076"/>
          <ac:spMkLst>
            <pc:docMk/>
            <pc:sldMk cId="3336108815" sldId="702"/>
            <ac:spMk id="10" creationId="{1D72C7EF-C4B6-ABDD-04B4-D8D7EC554490}"/>
          </ac:spMkLst>
        </pc:spChg>
        <pc:picChg chg="add mod">
          <ac:chgData name="reilec.tmb22" userId="0b7e6988-e521-4a1e-900b-efd6b80549e1" providerId="ADAL" clId="{773966CE-92C3-40AD-BCCF-6F6A2CB71F58}" dt="2025-06-09T08:50:20.320" v="2305" actId="962"/>
          <ac:picMkLst>
            <pc:docMk/>
            <pc:sldMk cId="3336108815" sldId="702"/>
            <ac:picMk id="12" creationId="{B028DCEE-CF9A-6674-A270-50BEC22CD926}"/>
          </ac:picMkLst>
        </pc:picChg>
      </pc:sldChg>
      <pc:sldChg chg="addSp delSp modSp add mod ord">
        <pc:chgData name="reilec.tmb22" userId="0b7e6988-e521-4a1e-900b-efd6b80549e1" providerId="ADAL" clId="{773966CE-92C3-40AD-BCCF-6F6A2CB71F58}" dt="2025-06-09T08:42:29.243" v="1837" actId="1037"/>
        <pc:sldMkLst>
          <pc:docMk/>
          <pc:sldMk cId="4086075173" sldId="703"/>
        </pc:sldMkLst>
        <pc:spChg chg="mod">
          <ac:chgData name="reilec.tmb22" userId="0b7e6988-e521-4a1e-900b-efd6b80549e1" providerId="ADAL" clId="{773966CE-92C3-40AD-BCCF-6F6A2CB71F58}" dt="2025-06-09T08:35:44.847" v="1683" actId="20577"/>
          <ac:spMkLst>
            <pc:docMk/>
            <pc:sldMk cId="4086075173" sldId="703"/>
            <ac:spMk id="6" creationId="{16F502B3-8143-4BAA-3FAE-3386AFAEF4EB}"/>
          </ac:spMkLst>
        </pc:spChg>
        <pc:spChg chg="add mod">
          <ac:chgData name="reilec.tmb22" userId="0b7e6988-e521-4a1e-900b-efd6b80549e1" providerId="ADAL" clId="{773966CE-92C3-40AD-BCCF-6F6A2CB71F58}" dt="2025-06-09T08:42:29.243" v="1837" actId="1037"/>
          <ac:spMkLst>
            <pc:docMk/>
            <pc:sldMk cId="4086075173" sldId="703"/>
            <ac:spMk id="13" creationId="{D7C2FE6E-1B16-1A4C-77A9-4E962CFC0270}"/>
          </ac:spMkLst>
        </pc:spChg>
        <pc:picChg chg="add mod">
          <ac:chgData name="reilec.tmb22" userId="0b7e6988-e521-4a1e-900b-efd6b80549e1" providerId="ADAL" clId="{773966CE-92C3-40AD-BCCF-6F6A2CB71F58}" dt="2025-06-09T08:42:29.243" v="1837" actId="1037"/>
          <ac:picMkLst>
            <pc:docMk/>
            <pc:sldMk cId="4086075173" sldId="703"/>
            <ac:picMk id="4" creationId="{5C622124-A13D-E92E-1532-1F230556E04D}"/>
          </ac:picMkLst>
        </pc:picChg>
        <pc:cxnChg chg="add mod">
          <ac:chgData name="reilec.tmb22" userId="0b7e6988-e521-4a1e-900b-efd6b80549e1" providerId="ADAL" clId="{773966CE-92C3-40AD-BCCF-6F6A2CB71F58}" dt="2025-06-09T08:42:29.243" v="1837" actId="1037"/>
          <ac:cxnSpMkLst>
            <pc:docMk/>
            <pc:sldMk cId="4086075173" sldId="703"/>
            <ac:cxnSpMk id="10" creationId="{8A7265AA-2780-7157-DFFA-C0DA957F62E1}"/>
          </ac:cxnSpMkLst>
        </pc:cxnChg>
        <pc:cxnChg chg="add mod">
          <ac:chgData name="reilec.tmb22" userId="0b7e6988-e521-4a1e-900b-efd6b80549e1" providerId="ADAL" clId="{773966CE-92C3-40AD-BCCF-6F6A2CB71F58}" dt="2025-06-09T08:42:29.243" v="1837" actId="1037"/>
          <ac:cxnSpMkLst>
            <pc:docMk/>
            <pc:sldMk cId="4086075173" sldId="703"/>
            <ac:cxnSpMk id="12" creationId="{91895C82-0177-EF80-119B-DCAC60AD5B14}"/>
          </ac:cxnSpMkLst>
        </pc:cxnChg>
      </pc:sldChg>
      <pc:sldChg chg="modSp add del mod ord">
        <pc:chgData name="reilec.tmb22" userId="0b7e6988-e521-4a1e-900b-efd6b80549e1" providerId="ADAL" clId="{773966CE-92C3-40AD-BCCF-6F6A2CB71F58}" dt="2025-06-09T08:55:09.320" v="2312" actId="47"/>
        <pc:sldMkLst>
          <pc:docMk/>
          <pc:sldMk cId="2887167401" sldId="704"/>
        </pc:sldMkLst>
      </pc:sldChg>
      <pc:sldChg chg="new del">
        <pc:chgData name="reilec.tmb22" userId="0b7e6988-e521-4a1e-900b-efd6b80549e1" providerId="ADAL" clId="{773966CE-92C3-40AD-BCCF-6F6A2CB71F58}" dt="2025-06-09T08:32:18.545" v="1559" actId="47"/>
        <pc:sldMkLst>
          <pc:docMk/>
          <pc:sldMk cId="4195697781" sldId="704"/>
        </pc:sldMkLst>
      </pc:sldChg>
      <pc:sldChg chg="addSp delSp modSp add mod ord">
        <pc:chgData name="reilec.tmb22" userId="0b7e6988-e521-4a1e-900b-efd6b80549e1" providerId="ADAL" clId="{773966CE-92C3-40AD-BCCF-6F6A2CB71F58}" dt="2025-06-09T09:09:38.596" v="2663" actId="403"/>
        <pc:sldMkLst>
          <pc:docMk/>
          <pc:sldMk cId="3471872623" sldId="705"/>
        </pc:sldMkLst>
        <pc:spChg chg="mod">
          <ac:chgData name="reilec.tmb22" userId="0b7e6988-e521-4a1e-900b-efd6b80549e1" providerId="ADAL" clId="{773966CE-92C3-40AD-BCCF-6F6A2CB71F58}" dt="2025-06-09T08:58:07.053" v="2332" actId="1076"/>
          <ac:spMkLst>
            <pc:docMk/>
            <pc:sldMk cId="3471872623" sldId="705"/>
            <ac:spMk id="5" creationId="{AE81C354-6838-579A-593B-2029A034F49D}"/>
          </ac:spMkLst>
        </pc:spChg>
        <pc:graphicFrameChg chg="add mod">
          <ac:chgData name="reilec.tmb22" userId="0b7e6988-e521-4a1e-900b-efd6b80549e1" providerId="ADAL" clId="{773966CE-92C3-40AD-BCCF-6F6A2CB71F58}" dt="2025-06-09T09:03:27.520" v="2364"/>
          <ac:graphicFrameMkLst>
            <pc:docMk/>
            <pc:sldMk cId="3471872623" sldId="705"/>
            <ac:graphicFrameMk id="7" creationId="{4E99B5C8-CC39-7582-D8C5-4B292BF63E3A}"/>
          </ac:graphicFrameMkLst>
        </pc:graphicFrameChg>
        <pc:graphicFrameChg chg="add mod modGraphic">
          <ac:chgData name="reilec.tmb22" userId="0b7e6988-e521-4a1e-900b-efd6b80549e1" providerId="ADAL" clId="{773966CE-92C3-40AD-BCCF-6F6A2CB71F58}" dt="2025-06-09T09:09:38.596" v="2663" actId="403"/>
          <ac:graphicFrameMkLst>
            <pc:docMk/>
            <pc:sldMk cId="3471872623" sldId="705"/>
            <ac:graphicFrameMk id="9" creationId="{4E1D77F2-3D7E-EF33-47A4-7C5866C0EC16}"/>
          </ac:graphicFrameMkLst>
        </pc:graphicFrameChg>
      </pc:sldChg>
      <pc:sldChg chg="modSp mod">
        <pc:chgData name="reilec.tmb22" userId="0b7e6988-e521-4a1e-900b-efd6b80549e1" providerId="ADAL" clId="{773966CE-92C3-40AD-BCCF-6F6A2CB71F58}" dt="2025-06-09T16:59:32.458" v="7297" actId="3626"/>
        <pc:sldMkLst>
          <pc:docMk/>
          <pc:sldMk cId="2966888626" sldId="706"/>
        </pc:sldMkLst>
        <pc:spChg chg="mod">
          <ac:chgData name="reilec.tmb22" userId="0b7e6988-e521-4a1e-900b-efd6b80549e1" providerId="ADAL" clId="{773966CE-92C3-40AD-BCCF-6F6A2CB71F58}" dt="2025-06-09T16:59:17.675" v="7292" actId="3626"/>
          <ac:spMkLst>
            <pc:docMk/>
            <pc:sldMk cId="2966888626" sldId="706"/>
            <ac:spMk id="639" creationId="{1B97D83B-D385-A7B4-E164-85A432FE5AE0}"/>
          </ac:spMkLst>
        </pc:spChg>
        <pc:spChg chg="mod">
          <ac:chgData name="reilec.tmb22" userId="0b7e6988-e521-4a1e-900b-efd6b80549e1" providerId="ADAL" clId="{773966CE-92C3-40AD-BCCF-6F6A2CB71F58}" dt="2025-06-09T16:59:19.894" v="7293" actId="3626"/>
          <ac:spMkLst>
            <pc:docMk/>
            <pc:sldMk cId="2966888626" sldId="706"/>
            <ac:spMk id="642" creationId="{D8B57200-3A9A-8AD2-EC8B-52A8A87C8F1E}"/>
          </ac:spMkLst>
        </pc:spChg>
        <pc:spChg chg="mod">
          <ac:chgData name="reilec.tmb22" userId="0b7e6988-e521-4a1e-900b-efd6b80549e1" providerId="ADAL" clId="{773966CE-92C3-40AD-BCCF-6F6A2CB71F58}" dt="2025-06-09T16:59:23.285" v="7294" actId="3626"/>
          <ac:spMkLst>
            <pc:docMk/>
            <pc:sldMk cId="2966888626" sldId="706"/>
            <ac:spMk id="645" creationId="{71C92AE6-45C9-BE85-4F3B-880AEB0D5A80}"/>
          </ac:spMkLst>
        </pc:spChg>
        <pc:spChg chg="mod">
          <ac:chgData name="reilec.tmb22" userId="0b7e6988-e521-4a1e-900b-efd6b80549e1" providerId="ADAL" clId="{773966CE-92C3-40AD-BCCF-6F6A2CB71F58}" dt="2025-06-09T16:59:25.333" v="7295" actId="3626"/>
          <ac:spMkLst>
            <pc:docMk/>
            <pc:sldMk cId="2966888626" sldId="706"/>
            <ac:spMk id="648" creationId="{F99FF65C-4AEF-9B9C-286D-7C8BBF150DD0}"/>
          </ac:spMkLst>
        </pc:spChg>
        <pc:spChg chg="mod">
          <ac:chgData name="reilec.tmb22" userId="0b7e6988-e521-4a1e-900b-efd6b80549e1" providerId="ADAL" clId="{773966CE-92C3-40AD-BCCF-6F6A2CB71F58}" dt="2025-06-09T16:59:27.568" v="7296" actId="3626"/>
          <ac:spMkLst>
            <pc:docMk/>
            <pc:sldMk cId="2966888626" sldId="706"/>
            <ac:spMk id="651" creationId="{466FDF67-1161-DC7C-31FB-3C64AE272662}"/>
          </ac:spMkLst>
        </pc:spChg>
        <pc:spChg chg="mod">
          <ac:chgData name="reilec.tmb22" userId="0b7e6988-e521-4a1e-900b-efd6b80549e1" providerId="ADAL" clId="{773966CE-92C3-40AD-BCCF-6F6A2CB71F58}" dt="2025-06-09T16:59:32.458" v="7297" actId="3626"/>
          <ac:spMkLst>
            <pc:docMk/>
            <pc:sldMk cId="2966888626" sldId="706"/>
            <ac:spMk id="654" creationId="{9F2B3016-3025-852C-3425-69DB08B70C60}"/>
          </ac:spMkLst>
        </pc:spChg>
      </pc:sldChg>
      <pc:sldChg chg="addSp delSp modSp mod">
        <pc:chgData name="reilec.tmb22" userId="0b7e6988-e521-4a1e-900b-efd6b80549e1" providerId="ADAL" clId="{773966CE-92C3-40AD-BCCF-6F6A2CB71F58}" dt="2025-06-09T15:09:06.615" v="4606" actId="1076"/>
        <pc:sldMkLst>
          <pc:docMk/>
          <pc:sldMk cId="328497533" sldId="708"/>
        </pc:sldMkLst>
        <pc:spChg chg="add mod">
          <ac:chgData name="reilec.tmb22" userId="0b7e6988-e521-4a1e-900b-efd6b80549e1" providerId="ADAL" clId="{773966CE-92C3-40AD-BCCF-6F6A2CB71F58}" dt="2025-06-09T15:09:00.129" v="4605" actId="1076"/>
          <ac:spMkLst>
            <pc:docMk/>
            <pc:sldMk cId="328497533" sldId="708"/>
            <ac:spMk id="34" creationId="{4484073E-7102-D49C-459A-AF23116EB4FB}"/>
          </ac:spMkLst>
        </pc:spChg>
        <pc:spChg chg="add mod">
          <ac:chgData name="reilec.tmb22" userId="0b7e6988-e521-4a1e-900b-efd6b80549e1" providerId="ADAL" clId="{773966CE-92C3-40AD-BCCF-6F6A2CB71F58}" dt="2025-06-09T15:09:06.615" v="4606" actId="1076"/>
          <ac:spMkLst>
            <pc:docMk/>
            <pc:sldMk cId="328497533" sldId="708"/>
            <ac:spMk id="35" creationId="{365D0989-06AB-20FC-2D71-1CFB299633BC}"/>
          </ac:spMkLst>
        </pc:spChg>
        <pc:spChg chg="mod">
          <ac:chgData name="reilec.tmb22" userId="0b7e6988-e521-4a1e-900b-efd6b80549e1" providerId="ADAL" clId="{773966CE-92C3-40AD-BCCF-6F6A2CB71F58}" dt="2025-06-09T14:58:58.835" v="4450" actId="20577"/>
          <ac:spMkLst>
            <pc:docMk/>
            <pc:sldMk cId="328497533" sldId="708"/>
            <ac:spMk id="43" creationId="{D373F934-B069-CC8C-FEEC-E78EF9AEC296}"/>
          </ac:spMkLst>
        </pc:spChg>
        <pc:grpChg chg="mod">
          <ac:chgData name="reilec.tmb22" userId="0b7e6988-e521-4a1e-900b-efd6b80549e1" providerId="ADAL" clId="{773966CE-92C3-40AD-BCCF-6F6A2CB71F58}" dt="2025-06-09T15:08:56.129" v="4604" actId="1076"/>
          <ac:grpSpMkLst>
            <pc:docMk/>
            <pc:sldMk cId="328497533" sldId="708"/>
            <ac:grpSpMk id="17" creationId="{275E7C19-C63C-26D0-BE77-0C231C14FEB1}"/>
          </ac:grpSpMkLst>
        </pc:grpChg>
        <pc:grpChg chg="mod">
          <ac:chgData name="reilec.tmb22" userId="0b7e6988-e521-4a1e-900b-efd6b80549e1" providerId="ADAL" clId="{773966CE-92C3-40AD-BCCF-6F6A2CB71F58}" dt="2025-06-09T15:08:50.345" v="4603" actId="1076"/>
          <ac:grpSpMkLst>
            <pc:docMk/>
            <pc:sldMk cId="328497533" sldId="708"/>
            <ac:grpSpMk id="25" creationId="{F3E50344-51A8-801A-B102-E3130F508DE7}"/>
          </ac:grpSpMkLst>
        </pc:grpChg>
        <pc:picChg chg="add mod modCrop">
          <ac:chgData name="reilec.tmb22" userId="0b7e6988-e521-4a1e-900b-efd6b80549e1" providerId="ADAL" clId="{773966CE-92C3-40AD-BCCF-6F6A2CB71F58}" dt="2025-06-09T15:08:45.267" v="4602" actId="1076"/>
          <ac:picMkLst>
            <pc:docMk/>
            <pc:sldMk cId="328497533" sldId="708"/>
            <ac:picMk id="39" creationId="{865EB849-7ECF-FED9-078D-E9F21AEABB5B}"/>
          </ac:picMkLst>
        </pc:picChg>
      </pc:sldChg>
      <pc:sldChg chg="addSp delSp modSp add mod">
        <pc:chgData name="reilec.tmb22" userId="0b7e6988-e521-4a1e-900b-efd6b80549e1" providerId="ADAL" clId="{773966CE-92C3-40AD-BCCF-6F6A2CB71F58}" dt="2025-06-09T16:16:43.580" v="7192" actId="20577"/>
        <pc:sldMkLst>
          <pc:docMk/>
          <pc:sldMk cId="392917613" sldId="709"/>
        </pc:sldMkLst>
        <pc:spChg chg="mod">
          <ac:chgData name="reilec.tmb22" userId="0b7e6988-e521-4a1e-900b-efd6b80549e1" providerId="ADAL" clId="{773966CE-92C3-40AD-BCCF-6F6A2CB71F58}" dt="2025-06-09T16:16:43.580" v="7192" actId="20577"/>
          <ac:spMkLst>
            <pc:docMk/>
            <pc:sldMk cId="392917613" sldId="709"/>
            <ac:spMk id="2" creationId="{F1AF383D-C7F9-1FD3-4471-9D0E83D67540}"/>
          </ac:spMkLst>
        </pc:spChg>
        <pc:spChg chg="mod">
          <ac:chgData name="reilec.tmb22" userId="0b7e6988-e521-4a1e-900b-efd6b80549e1" providerId="ADAL" clId="{773966CE-92C3-40AD-BCCF-6F6A2CB71F58}" dt="2025-06-09T13:37:29.180" v="2750" actId="20577"/>
          <ac:spMkLst>
            <pc:docMk/>
            <pc:sldMk cId="392917613" sldId="709"/>
            <ac:spMk id="3" creationId="{B4D857CE-F71F-0712-3F35-6E4F38A14990}"/>
          </ac:spMkLst>
        </pc:spChg>
        <pc:graphicFrameChg chg="add mod modGraphic">
          <ac:chgData name="reilec.tmb22" userId="0b7e6988-e521-4a1e-900b-efd6b80549e1" providerId="ADAL" clId="{773966CE-92C3-40AD-BCCF-6F6A2CB71F58}" dt="2025-06-09T13:39:52.656" v="2769" actId="1076"/>
          <ac:graphicFrameMkLst>
            <pc:docMk/>
            <pc:sldMk cId="392917613" sldId="709"/>
            <ac:graphicFrameMk id="4" creationId="{B3D2C8FF-5991-DD19-2334-45CC44B37D39}"/>
          </ac:graphicFrameMkLst>
        </pc:graphicFrameChg>
      </pc:sldChg>
      <pc:sldChg chg="addSp delSp modSp add mod">
        <pc:chgData name="reilec.tmb22" userId="0b7e6988-e521-4a1e-900b-efd6b80549e1" providerId="ADAL" clId="{773966CE-92C3-40AD-BCCF-6F6A2CB71F58}" dt="2025-06-09T16:48:43.445" v="7274" actId="20577"/>
        <pc:sldMkLst>
          <pc:docMk/>
          <pc:sldMk cId="3058823640" sldId="710"/>
        </pc:sldMkLst>
        <pc:spChg chg="mod">
          <ac:chgData name="reilec.tmb22" userId="0b7e6988-e521-4a1e-900b-efd6b80549e1" providerId="ADAL" clId="{773966CE-92C3-40AD-BCCF-6F6A2CB71F58}" dt="2025-06-09T16:16:55.629" v="7228" actId="20577"/>
          <ac:spMkLst>
            <pc:docMk/>
            <pc:sldMk cId="3058823640" sldId="710"/>
            <ac:spMk id="2" creationId="{8ACDA350-51B4-C228-373F-0A5DA9231BE7}"/>
          </ac:spMkLst>
        </pc:spChg>
        <pc:spChg chg="mod">
          <ac:chgData name="reilec.tmb22" userId="0b7e6988-e521-4a1e-900b-efd6b80549e1" providerId="ADAL" clId="{773966CE-92C3-40AD-BCCF-6F6A2CB71F58}" dt="2025-06-09T16:48:43.445" v="7274" actId="20577"/>
          <ac:spMkLst>
            <pc:docMk/>
            <pc:sldMk cId="3058823640" sldId="710"/>
            <ac:spMk id="3" creationId="{3D5A49FF-1CBB-1339-08D3-AE963149983D}"/>
          </ac:spMkLst>
        </pc:spChg>
        <pc:spChg chg="add mod">
          <ac:chgData name="reilec.tmb22" userId="0b7e6988-e521-4a1e-900b-efd6b80549e1" providerId="ADAL" clId="{773966CE-92C3-40AD-BCCF-6F6A2CB71F58}" dt="2025-06-09T14:32:05.868" v="4242" actId="1076"/>
          <ac:spMkLst>
            <pc:docMk/>
            <pc:sldMk cId="3058823640" sldId="710"/>
            <ac:spMk id="13" creationId="{0D092A4B-F201-3C5E-35B9-E01DCDFBE55A}"/>
          </ac:spMkLst>
        </pc:spChg>
        <pc:spChg chg="add mod">
          <ac:chgData name="reilec.tmb22" userId="0b7e6988-e521-4a1e-900b-efd6b80549e1" providerId="ADAL" clId="{773966CE-92C3-40AD-BCCF-6F6A2CB71F58}" dt="2025-06-09T16:48:39.085" v="7265" actId="20577"/>
          <ac:spMkLst>
            <pc:docMk/>
            <pc:sldMk cId="3058823640" sldId="710"/>
            <ac:spMk id="15" creationId="{F416C109-9334-7B6B-43CD-A527938CF8F3}"/>
          </ac:spMkLst>
        </pc:spChg>
        <pc:spChg chg="add mod">
          <ac:chgData name="reilec.tmb22" userId="0b7e6988-e521-4a1e-900b-efd6b80549e1" providerId="ADAL" clId="{773966CE-92C3-40AD-BCCF-6F6A2CB71F58}" dt="2025-06-09T14:32:29.826" v="4267" actId="20577"/>
          <ac:spMkLst>
            <pc:docMk/>
            <pc:sldMk cId="3058823640" sldId="710"/>
            <ac:spMk id="30" creationId="{C9285DB5-476E-3DE4-B945-7F554004043E}"/>
          </ac:spMkLst>
        </pc:spChg>
        <pc:spChg chg="add mod">
          <ac:chgData name="reilec.tmb22" userId="0b7e6988-e521-4a1e-900b-efd6b80549e1" providerId="ADAL" clId="{773966CE-92C3-40AD-BCCF-6F6A2CB71F58}" dt="2025-06-09T14:33:37.822" v="4281" actId="6549"/>
          <ac:spMkLst>
            <pc:docMk/>
            <pc:sldMk cId="3058823640" sldId="710"/>
            <ac:spMk id="32" creationId="{ECEB4C6F-57A3-812A-0059-EE8CBFF6A7E9}"/>
          </ac:spMkLst>
        </pc:spChg>
        <pc:spChg chg="add mod">
          <ac:chgData name="reilec.tmb22" userId="0b7e6988-e521-4a1e-900b-efd6b80549e1" providerId="ADAL" clId="{773966CE-92C3-40AD-BCCF-6F6A2CB71F58}" dt="2025-06-09T14:53:03.981" v="4435" actId="1076"/>
          <ac:spMkLst>
            <pc:docMk/>
            <pc:sldMk cId="3058823640" sldId="710"/>
            <ac:spMk id="34" creationId="{C7E71A85-BCBC-11CC-E036-AA2F9ED8C745}"/>
          </ac:spMkLst>
        </pc:spChg>
        <pc:spChg chg="add mod">
          <ac:chgData name="reilec.tmb22" userId="0b7e6988-e521-4a1e-900b-efd6b80549e1" providerId="ADAL" clId="{773966CE-92C3-40AD-BCCF-6F6A2CB71F58}" dt="2025-06-09T14:35:49.890" v="4394" actId="1076"/>
          <ac:spMkLst>
            <pc:docMk/>
            <pc:sldMk cId="3058823640" sldId="710"/>
            <ac:spMk id="36" creationId="{28D24D7D-C151-CFC6-5F2A-D46598F25C4B}"/>
          </ac:spMkLst>
        </pc:spChg>
        <pc:graphicFrameChg chg="add mod ord modGraphic">
          <ac:chgData name="reilec.tmb22" userId="0b7e6988-e521-4a1e-900b-efd6b80549e1" providerId="ADAL" clId="{773966CE-92C3-40AD-BCCF-6F6A2CB71F58}" dt="2025-06-09T14:50:38.967" v="4413" actId="167"/>
          <ac:graphicFrameMkLst>
            <pc:docMk/>
            <pc:sldMk cId="3058823640" sldId="710"/>
            <ac:graphicFrameMk id="38" creationId="{6A721598-BBED-49E7-1B23-75A218174A47}"/>
          </ac:graphicFrameMkLst>
        </pc:graphicFrameChg>
        <pc:graphicFrameChg chg="add mod modGraphic">
          <ac:chgData name="reilec.tmb22" userId="0b7e6988-e521-4a1e-900b-efd6b80549e1" providerId="ADAL" clId="{773966CE-92C3-40AD-BCCF-6F6A2CB71F58}" dt="2025-06-09T15:29:00.793" v="4622" actId="1076"/>
          <ac:graphicFrameMkLst>
            <pc:docMk/>
            <pc:sldMk cId="3058823640" sldId="710"/>
            <ac:graphicFrameMk id="45" creationId="{0467196E-6D5C-E0D6-BC93-CB61CC8B285F}"/>
          </ac:graphicFrameMkLst>
        </pc:graphicFrameChg>
        <pc:cxnChg chg="add mod">
          <ac:chgData name="reilec.tmb22" userId="0b7e6988-e521-4a1e-900b-efd6b80549e1" providerId="ADAL" clId="{773966CE-92C3-40AD-BCCF-6F6A2CB71F58}" dt="2025-06-09T14:50:47.938" v="4417" actId="14100"/>
          <ac:cxnSpMkLst>
            <pc:docMk/>
            <pc:sldMk cId="3058823640" sldId="710"/>
            <ac:cxnSpMk id="10" creationId="{BAA5F033-B9BE-29AC-5D34-5B441D171081}"/>
          </ac:cxnSpMkLst>
        </pc:cxnChg>
        <pc:cxnChg chg="add mod">
          <ac:chgData name="reilec.tmb22" userId="0b7e6988-e521-4a1e-900b-efd6b80549e1" providerId="ADAL" clId="{773966CE-92C3-40AD-BCCF-6F6A2CB71F58}" dt="2025-06-09T16:48:33.350" v="7256" actId="1076"/>
          <ac:cxnSpMkLst>
            <pc:docMk/>
            <pc:sldMk cId="3058823640" sldId="710"/>
            <ac:cxnSpMk id="14" creationId="{3A9B3B5F-24C6-3DA0-4790-54781829FFC5}"/>
          </ac:cxnSpMkLst>
        </pc:cxnChg>
        <pc:cxnChg chg="add mod">
          <ac:chgData name="reilec.tmb22" userId="0b7e6988-e521-4a1e-900b-efd6b80549e1" providerId="ADAL" clId="{773966CE-92C3-40AD-BCCF-6F6A2CB71F58}" dt="2025-06-09T14:50:53.891" v="4419" actId="14100"/>
          <ac:cxnSpMkLst>
            <pc:docMk/>
            <pc:sldMk cId="3058823640" sldId="710"/>
            <ac:cxnSpMk id="29" creationId="{21017421-D639-7BCF-4EC9-6E65EBE85C9F}"/>
          </ac:cxnSpMkLst>
        </pc:cxnChg>
        <pc:cxnChg chg="add mod">
          <ac:chgData name="reilec.tmb22" userId="0b7e6988-e521-4a1e-900b-efd6b80549e1" providerId="ADAL" clId="{773966CE-92C3-40AD-BCCF-6F6A2CB71F58}" dt="2025-06-09T14:50:32.592" v="4411" actId="14100"/>
          <ac:cxnSpMkLst>
            <pc:docMk/>
            <pc:sldMk cId="3058823640" sldId="710"/>
            <ac:cxnSpMk id="31" creationId="{FDBCA18C-8490-42B5-F310-42CAC8AE2C16}"/>
          </ac:cxnSpMkLst>
        </pc:cxnChg>
        <pc:cxnChg chg="add mod">
          <ac:chgData name="reilec.tmb22" userId="0b7e6988-e521-4a1e-900b-efd6b80549e1" providerId="ADAL" clId="{773966CE-92C3-40AD-BCCF-6F6A2CB71F58}" dt="2025-06-09T14:46:20.797" v="4396" actId="14100"/>
          <ac:cxnSpMkLst>
            <pc:docMk/>
            <pc:sldMk cId="3058823640" sldId="710"/>
            <ac:cxnSpMk id="35" creationId="{20CCDA2E-0B7A-847B-8FE3-5ADC42D3CC94}"/>
          </ac:cxnSpMkLst>
        </pc:cxnChg>
      </pc:sldChg>
      <pc:sldChg chg="addSp delSp modSp add mod">
        <pc:chgData name="reilec.tmb22" userId="0b7e6988-e521-4a1e-900b-efd6b80549e1" providerId="ADAL" clId="{773966CE-92C3-40AD-BCCF-6F6A2CB71F58}" dt="2025-06-09T16:17:06.644" v="7245" actId="20577"/>
        <pc:sldMkLst>
          <pc:docMk/>
          <pc:sldMk cId="4183269380" sldId="711"/>
        </pc:sldMkLst>
        <pc:spChg chg="mod">
          <ac:chgData name="reilec.tmb22" userId="0b7e6988-e521-4a1e-900b-efd6b80549e1" providerId="ADAL" clId="{773966CE-92C3-40AD-BCCF-6F6A2CB71F58}" dt="2025-06-09T16:17:06.644" v="7245" actId="20577"/>
          <ac:spMkLst>
            <pc:docMk/>
            <pc:sldMk cId="4183269380" sldId="711"/>
            <ac:spMk id="2" creationId="{6CF48898-C985-D792-EE70-6A984AE6F3F2}"/>
          </ac:spMkLst>
        </pc:spChg>
        <pc:spChg chg="mod">
          <ac:chgData name="reilec.tmb22" userId="0b7e6988-e521-4a1e-900b-efd6b80549e1" providerId="ADAL" clId="{773966CE-92C3-40AD-BCCF-6F6A2CB71F58}" dt="2025-06-09T13:42:22.257" v="2883" actId="20577"/>
          <ac:spMkLst>
            <pc:docMk/>
            <pc:sldMk cId="4183269380" sldId="711"/>
            <ac:spMk id="3" creationId="{4326B1BB-5C68-B117-44A3-188093822B9D}"/>
          </ac:spMkLst>
        </pc:spChg>
        <pc:spChg chg="add mod">
          <ac:chgData name="reilec.tmb22" userId="0b7e6988-e521-4a1e-900b-efd6b80549e1" providerId="ADAL" clId="{773966CE-92C3-40AD-BCCF-6F6A2CB71F58}" dt="2025-06-09T14:19:43.314" v="4128" actId="1076"/>
          <ac:spMkLst>
            <pc:docMk/>
            <pc:sldMk cId="4183269380" sldId="711"/>
            <ac:spMk id="9" creationId="{3AAAD9CD-9500-C595-19DA-DA59F8CEF258}"/>
          </ac:spMkLst>
        </pc:spChg>
        <pc:spChg chg="add mod">
          <ac:chgData name="reilec.tmb22" userId="0b7e6988-e521-4a1e-900b-efd6b80549e1" providerId="ADAL" clId="{773966CE-92C3-40AD-BCCF-6F6A2CB71F58}" dt="2025-06-09T14:14:40.109" v="4065" actId="1076"/>
          <ac:spMkLst>
            <pc:docMk/>
            <pc:sldMk cId="4183269380" sldId="711"/>
            <ac:spMk id="11" creationId="{8836B76F-91FC-1566-3BE1-9E375EA61EE8}"/>
          </ac:spMkLst>
        </pc:spChg>
        <pc:spChg chg="add mod">
          <ac:chgData name="reilec.tmb22" userId="0b7e6988-e521-4a1e-900b-efd6b80549e1" providerId="ADAL" clId="{773966CE-92C3-40AD-BCCF-6F6A2CB71F58}" dt="2025-06-09T14:15:09.738" v="4079" actId="20577"/>
          <ac:spMkLst>
            <pc:docMk/>
            <pc:sldMk cId="4183269380" sldId="711"/>
            <ac:spMk id="14" creationId="{F6C225BF-5925-22F1-B68A-2A99539DBF77}"/>
          </ac:spMkLst>
        </pc:spChg>
        <pc:graphicFrameChg chg="add mod modGraphic">
          <ac:chgData name="reilec.tmb22" userId="0b7e6988-e521-4a1e-900b-efd6b80549e1" providerId="ADAL" clId="{773966CE-92C3-40AD-BCCF-6F6A2CB71F58}" dt="2025-06-09T14:20:41.322" v="4135" actId="1076"/>
          <ac:graphicFrameMkLst>
            <pc:docMk/>
            <pc:sldMk cId="4183269380" sldId="711"/>
            <ac:graphicFrameMk id="8" creationId="{9E3611BB-6201-A2B2-4E11-E82DE7BDB7C6}"/>
          </ac:graphicFrameMkLst>
        </pc:graphicFrameChg>
        <pc:graphicFrameChg chg="add mod modGraphic">
          <ac:chgData name="reilec.tmb22" userId="0b7e6988-e521-4a1e-900b-efd6b80549e1" providerId="ADAL" clId="{773966CE-92C3-40AD-BCCF-6F6A2CB71F58}" dt="2025-06-09T14:20:49.839" v="4137" actId="339"/>
          <ac:graphicFrameMkLst>
            <pc:docMk/>
            <pc:sldMk cId="4183269380" sldId="711"/>
            <ac:graphicFrameMk id="16" creationId="{BAEE847B-1C39-AD7B-1883-3F7222F8BC3C}"/>
          </ac:graphicFrameMkLst>
        </pc:graphicFrameChg>
        <pc:picChg chg="add mod">
          <ac:chgData name="reilec.tmb22" userId="0b7e6988-e521-4a1e-900b-efd6b80549e1" providerId="ADAL" clId="{773966CE-92C3-40AD-BCCF-6F6A2CB71F58}" dt="2025-06-09T14:20:45.197" v="4136" actId="1076"/>
          <ac:picMkLst>
            <pc:docMk/>
            <pc:sldMk cId="4183269380" sldId="711"/>
            <ac:picMk id="4" creationId="{4F92AADE-0E1C-9288-7138-5A29E8634B1F}"/>
          </ac:picMkLst>
        </pc:picChg>
        <pc:picChg chg="add mod modCrop">
          <ac:chgData name="reilec.tmb22" userId="0b7e6988-e521-4a1e-900b-efd6b80549e1" providerId="ADAL" clId="{773966CE-92C3-40AD-BCCF-6F6A2CB71F58}" dt="2025-06-09T15:28:45.744" v="4620" actId="1076"/>
          <ac:picMkLst>
            <pc:docMk/>
            <pc:sldMk cId="4183269380" sldId="711"/>
            <ac:picMk id="18" creationId="{226CAD2B-1BDE-BD2B-0739-0EF857D6E1D0}"/>
          </ac:picMkLst>
        </pc:picChg>
        <pc:cxnChg chg="add mod">
          <ac:chgData name="reilec.tmb22" userId="0b7e6988-e521-4a1e-900b-efd6b80549e1" providerId="ADAL" clId="{773966CE-92C3-40AD-BCCF-6F6A2CB71F58}" dt="2025-06-09T14:14:21.972" v="4039" actId="14100"/>
          <ac:cxnSpMkLst>
            <pc:docMk/>
            <pc:sldMk cId="4183269380" sldId="711"/>
            <ac:cxnSpMk id="10" creationId="{501DA92D-3346-56FE-31FE-A4765A9AC54B}"/>
          </ac:cxnSpMkLst>
        </pc:cxnChg>
        <pc:cxnChg chg="add mod">
          <ac:chgData name="reilec.tmb22" userId="0b7e6988-e521-4a1e-900b-efd6b80549e1" providerId="ADAL" clId="{773966CE-92C3-40AD-BCCF-6F6A2CB71F58}" dt="2025-06-09T14:15:05.629" v="4068" actId="14100"/>
          <ac:cxnSpMkLst>
            <pc:docMk/>
            <pc:sldMk cId="4183269380" sldId="711"/>
            <ac:cxnSpMk id="13" creationId="{B9D3F63A-CF2B-D061-ED75-6ED7107C8AD5}"/>
          </ac:cxnSpMkLst>
        </pc:cxnChg>
      </pc:sldChg>
      <pc:sldChg chg="addSp delSp modSp add mod ord">
        <pc:chgData name="reilec.tmb22" userId="0b7e6988-e521-4a1e-900b-efd6b80549e1" providerId="ADAL" clId="{773966CE-92C3-40AD-BCCF-6F6A2CB71F58}" dt="2025-06-09T16:16:28.961" v="7169" actId="6549"/>
        <pc:sldMkLst>
          <pc:docMk/>
          <pc:sldMk cId="4257729480" sldId="712"/>
        </pc:sldMkLst>
        <pc:spChg chg="add del mod">
          <ac:chgData name="reilec.tmb22" userId="0b7e6988-e521-4a1e-900b-efd6b80549e1" providerId="ADAL" clId="{773966CE-92C3-40AD-BCCF-6F6A2CB71F58}" dt="2025-06-09T16:16:28.961" v="7169" actId="6549"/>
          <ac:spMkLst>
            <pc:docMk/>
            <pc:sldMk cId="4257729480" sldId="712"/>
            <ac:spMk id="2" creationId="{BFA5189B-CE92-0218-21FD-7F45EE639764}"/>
          </ac:spMkLst>
        </pc:spChg>
        <pc:spChg chg="mod">
          <ac:chgData name="reilec.tmb22" userId="0b7e6988-e521-4a1e-900b-efd6b80549e1" providerId="ADAL" clId="{773966CE-92C3-40AD-BCCF-6F6A2CB71F58}" dt="2025-06-09T13:44:29.812" v="2943" actId="20577"/>
          <ac:spMkLst>
            <pc:docMk/>
            <pc:sldMk cId="4257729480" sldId="712"/>
            <ac:spMk id="3" creationId="{AF1B7219-28DF-7AA8-A429-15AC313D1372}"/>
          </ac:spMkLst>
        </pc:spChg>
        <pc:spChg chg="add mod">
          <ac:chgData name="reilec.tmb22" userId="0b7e6988-e521-4a1e-900b-efd6b80549e1" providerId="ADAL" clId="{773966CE-92C3-40AD-BCCF-6F6A2CB71F58}" dt="2025-06-09T14:10:24.604" v="3973" actId="1076"/>
          <ac:spMkLst>
            <pc:docMk/>
            <pc:sldMk cId="4257729480" sldId="712"/>
            <ac:spMk id="10" creationId="{0B3E1046-7449-9EDF-C962-9CE977204EB6}"/>
          </ac:spMkLst>
        </pc:spChg>
        <pc:spChg chg="add mod">
          <ac:chgData name="reilec.tmb22" userId="0b7e6988-e521-4a1e-900b-efd6b80549e1" providerId="ADAL" clId="{773966CE-92C3-40AD-BCCF-6F6A2CB71F58}" dt="2025-06-09T14:16:28.207" v="4100" actId="1076"/>
          <ac:spMkLst>
            <pc:docMk/>
            <pc:sldMk cId="4257729480" sldId="712"/>
            <ac:spMk id="14" creationId="{10C1B40E-C63D-03AA-DA1C-B09C796ADE6D}"/>
          </ac:spMkLst>
        </pc:spChg>
        <pc:spChg chg="add mod">
          <ac:chgData name="reilec.tmb22" userId="0b7e6988-e521-4a1e-900b-efd6b80549e1" providerId="ADAL" clId="{773966CE-92C3-40AD-BCCF-6F6A2CB71F58}" dt="2025-06-09T14:13:19.164" v="4034" actId="6549"/>
          <ac:spMkLst>
            <pc:docMk/>
            <pc:sldMk cId="4257729480" sldId="712"/>
            <ac:spMk id="17" creationId="{3760742B-B439-FFA9-E269-2F134E26C86F}"/>
          </ac:spMkLst>
        </pc:spChg>
        <pc:spChg chg="add mod">
          <ac:chgData name="reilec.tmb22" userId="0b7e6988-e521-4a1e-900b-efd6b80549e1" providerId="ADAL" clId="{773966CE-92C3-40AD-BCCF-6F6A2CB71F58}" dt="2025-06-09T14:16:40.891" v="4104" actId="1076"/>
          <ac:spMkLst>
            <pc:docMk/>
            <pc:sldMk cId="4257729480" sldId="712"/>
            <ac:spMk id="19" creationId="{79BA8E7D-FBBC-671F-C4D6-3E7E820C8885}"/>
          </ac:spMkLst>
        </pc:spChg>
        <pc:spChg chg="add mod">
          <ac:chgData name="reilec.tmb22" userId="0b7e6988-e521-4a1e-900b-efd6b80549e1" providerId="ADAL" clId="{773966CE-92C3-40AD-BCCF-6F6A2CB71F58}" dt="2025-06-09T14:17:07.048" v="4123" actId="1076"/>
          <ac:spMkLst>
            <pc:docMk/>
            <pc:sldMk cId="4257729480" sldId="712"/>
            <ac:spMk id="22" creationId="{C21D20BA-AFFB-DD8E-8C5F-2BA425D0038C}"/>
          </ac:spMkLst>
        </pc:spChg>
        <pc:graphicFrameChg chg="add mod modGraphic">
          <ac:chgData name="reilec.tmb22" userId="0b7e6988-e521-4a1e-900b-efd6b80549e1" providerId="ADAL" clId="{773966CE-92C3-40AD-BCCF-6F6A2CB71F58}" dt="2025-06-09T14:27:08.738" v="4158" actId="1076"/>
          <ac:graphicFrameMkLst>
            <pc:docMk/>
            <pc:sldMk cId="4257729480" sldId="712"/>
            <ac:graphicFrameMk id="7" creationId="{84E8DE34-B005-D255-5DFC-722544B3E40D}"/>
          </ac:graphicFrameMkLst>
        </pc:graphicFrameChg>
        <pc:graphicFrameChg chg="add mod modGraphic">
          <ac:chgData name="reilec.tmb22" userId="0b7e6988-e521-4a1e-900b-efd6b80549e1" providerId="ADAL" clId="{773966CE-92C3-40AD-BCCF-6F6A2CB71F58}" dt="2025-06-09T14:11:08.564" v="3979" actId="931"/>
          <ac:graphicFrameMkLst>
            <pc:docMk/>
            <pc:sldMk cId="4257729480" sldId="712"/>
            <ac:graphicFrameMk id="9" creationId="{EB0AED13-2340-ECC4-DB39-AF82AEE326EF}"/>
          </ac:graphicFrameMkLst>
        </pc:graphicFrameChg>
        <pc:cxnChg chg="add mod">
          <ac:chgData name="reilec.tmb22" userId="0b7e6988-e521-4a1e-900b-efd6b80549e1" providerId="ADAL" clId="{773966CE-92C3-40AD-BCCF-6F6A2CB71F58}" dt="2025-06-09T14:16:30.522" v="4101" actId="14100"/>
          <ac:cxnSpMkLst>
            <pc:docMk/>
            <pc:sldMk cId="4257729480" sldId="712"/>
            <ac:cxnSpMk id="12" creationId="{4709488B-47CE-0ACE-3254-88FE5818A749}"/>
          </ac:cxnSpMkLst>
        </pc:cxnChg>
        <pc:cxnChg chg="add mod">
          <ac:chgData name="reilec.tmb22" userId="0b7e6988-e521-4a1e-900b-efd6b80549e1" providerId="ADAL" clId="{773966CE-92C3-40AD-BCCF-6F6A2CB71F58}" dt="2025-06-09T14:12:58.114" v="4006" actId="14100"/>
          <ac:cxnSpMkLst>
            <pc:docMk/>
            <pc:sldMk cId="4257729480" sldId="712"/>
            <ac:cxnSpMk id="15" creationId="{77F720F8-D5D2-A032-3674-32DDF7FC429C}"/>
          </ac:cxnSpMkLst>
        </pc:cxnChg>
        <pc:cxnChg chg="add mod">
          <ac:chgData name="reilec.tmb22" userId="0b7e6988-e521-4a1e-900b-efd6b80549e1" providerId="ADAL" clId="{773966CE-92C3-40AD-BCCF-6F6A2CB71F58}" dt="2025-06-09T14:27:07.175" v="4157" actId="14100"/>
          <ac:cxnSpMkLst>
            <pc:docMk/>
            <pc:sldMk cId="4257729480" sldId="712"/>
            <ac:cxnSpMk id="18" creationId="{689282FA-1D1F-40EE-4B5E-A31FF19D277C}"/>
          </ac:cxnSpMkLst>
        </pc:cxnChg>
        <pc:cxnChg chg="add mod">
          <ac:chgData name="reilec.tmb22" userId="0b7e6988-e521-4a1e-900b-efd6b80549e1" providerId="ADAL" clId="{773966CE-92C3-40AD-BCCF-6F6A2CB71F58}" dt="2025-06-09T14:27:10.865" v="4159" actId="14100"/>
          <ac:cxnSpMkLst>
            <pc:docMk/>
            <pc:sldMk cId="4257729480" sldId="712"/>
            <ac:cxnSpMk id="21" creationId="{F3B20C02-D6F4-9CEB-9C1C-6884A0F761B5}"/>
          </ac:cxnSpMkLst>
        </pc:cxnChg>
      </pc:sldChg>
      <pc:sldChg chg="modSp mod">
        <pc:chgData name="reilec.tmb22" userId="0b7e6988-e521-4a1e-900b-efd6b80549e1" providerId="ADAL" clId="{773966CE-92C3-40AD-BCCF-6F6A2CB71F58}" dt="2025-06-09T16:16:50.158" v="7210" actId="20577"/>
        <pc:sldMkLst>
          <pc:docMk/>
          <pc:sldMk cId="3077439622" sldId="713"/>
        </pc:sldMkLst>
        <pc:spChg chg="mod">
          <ac:chgData name="reilec.tmb22" userId="0b7e6988-e521-4a1e-900b-efd6b80549e1" providerId="ADAL" clId="{773966CE-92C3-40AD-BCCF-6F6A2CB71F58}" dt="2025-06-09T16:16:50.158" v="7210" actId="20577"/>
          <ac:spMkLst>
            <pc:docMk/>
            <pc:sldMk cId="3077439622" sldId="713"/>
            <ac:spMk id="2" creationId="{D36B33B4-7499-F183-F268-44EFBF7D09C4}"/>
          </ac:spMkLst>
        </pc:spChg>
      </pc:sldChg>
      <pc:sldChg chg="modSp mod">
        <pc:chgData name="reilec.tmb22" userId="0b7e6988-e521-4a1e-900b-efd6b80549e1" providerId="ADAL" clId="{773966CE-92C3-40AD-BCCF-6F6A2CB71F58}" dt="2025-06-09T16:16:11.270" v="7151" actId="20577"/>
        <pc:sldMkLst>
          <pc:docMk/>
          <pc:sldMk cId="3383276389" sldId="714"/>
        </pc:sldMkLst>
        <pc:spChg chg="mod">
          <ac:chgData name="reilec.tmb22" userId="0b7e6988-e521-4a1e-900b-efd6b80549e1" providerId="ADAL" clId="{773966CE-92C3-40AD-BCCF-6F6A2CB71F58}" dt="2025-06-09T16:15:59.236" v="7147" actId="20577"/>
          <ac:spMkLst>
            <pc:docMk/>
            <pc:sldMk cId="3383276389" sldId="714"/>
            <ac:spMk id="2" creationId="{2FF69981-87C1-73B4-683C-14C386BE3C61}"/>
          </ac:spMkLst>
        </pc:spChg>
        <pc:spChg chg="mod">
          <ac:chgData name="reilec.tmb22" userId="0b7e6988-e521-4a1e-900b-efd6b80549e1" providerId="ADAL" clId="{773966CE-92C3-40AD-BCCF-6F6A2CB71F58}" dt="2025-06-09T16:16:11.270" v="7151" actId="20577"/>
          <ac:spMkLst>
            <pc:docMk/>
            <pc:sldMk cId="3383276389" sldId="714"/>
            <ac:spMk id="3" creationId="{4017B4A9-AF77-DBAA-3BBC-959C234D7C02}"/>
          </ac:spMkLst>
        </pc:spChg>
      </pc:sldChg>
      <pc:sldChg chg="delSp new mod">
        <pc:chgData name="reilec.tmb22" userId="0b7e6988-e521-4a1e-900b-efd6b80549e1" providerId="ADAL" clId="{773966CE-92C3-40AD-BCCF-6F6A2CB71F58}" dt="2025-06-09T14:47:21.721" v="4398" actId="478"/>
        <pc:sldMkLst>
          <pc:docMk/>
          <pc:sldMk cId="3423916802" sldId="716"/>
        </pc:sldMkLst>
      </pc:sldChg>
      <pc:sldChg chg="addSp delSp modSp add mod ord">
        <pc:chgData name="reilec.tmb22" userId="0b7e6988-e521-4a1e-900b-efd6b80549e1" providerId="ADAL" clId="{773966CE-92C3-40AD-BCCF-6F6A2CB71F58}" dt="2025-06-09T15:07:14.225" v="4582" actId="14100"/>
        <pc:sldMkLst>
          <pc:docMk/>
          <pc:sldMk cId="2024130033" sldId="717"/>
        </pc:sldMkLst>
        <pc:spChg chg="mod">
          <ac:chgData name="reilec.tmb22" userId="0b7e6988-e521-4a1e-900b-efd6b80549e1" providerId="ADAL" clId="{773966CE-92C3-40AD-BCCF-6F6A2CB71F58}" dt="2025-06-09T15:00:57.729" v="4491" actId="20577"/>
          <ac:spMkLst>
            <pc:docMk/>
            <pc:sldMk cId="2024130033" sldId="717"/>
            <ac:spMk id="43" creationId="{486BA22F-A57C-0AF9-C011-5273FFC457F9}"/>
          </ac:spMkLst>
        </pc:spChg>
        <pc:picChg chg="mod">
          <ac:chgData name="reilec.tmb22" userId="0b7e6988-e521-4a1e-900b-efd6b80549e1" providerId="ADAL" clId="{773966CE-92C3-40AD-BCCF-6F6A2CB71F58}" dt="2025-06-09T15:07:14.225" v="4582" actId="14100"/>
          <ac:picMkLst>
            <pc:docMk/>
            <pc:sldMk cId="2024130033" sldId="717"/>
            <ac:picMk id="12" creationId="{862E08A7-36E9-A539-715D-F67992379B9B}"/>
          </ac:picMkLst>
        </pc:picChg>
        <pc:picChg chg="add mod">
          <ac:chgData name="reilec.tmb22" userId="0b7e6988-e521-4a1e-900b-efd6b80549e1" providerId="ADAL" clId="{773966CE-92C3-40AD-BCCF-6F6A2CB71F58}" dt="2025-06-09T15:07:10.397" v="4581" actId="1076"/>
          <ac:picMkLst>
            <pc:docMk/>
            <pc:sldMk cId="2024130033" sldId="717"/>
            <ac:picMk id="41" creationId="{23C81A1C-BB16-3D70-F04C-81C1D4EF2F75}"/>
          </ac:picMkLst>
        </pc:picChg>
      </pc:sldChg>
      <pc:sldChg chg="addSp delSp modSp add mod ord">
        <pc:chgData name="reilec.tmb22" userId="0b7e6988-e521-4a1e-900b-efd6b80549e1" providerId="ADAL" clId="{773966CE-92C3-40AD-BCCF-6F6A2CB71F58}" dt="2025-06-09T15:44:53.748" v="5022" actId="1076"/>
        <pc:sldMkLst>
          <pc:docMk/>
          <pc:sldMk cId="573493541" sldId="718"/>
        </pc:sldMkLst>
        <pc:spChg chg="mod">
          <ac:chgData name="reilec.tmb22" userId="0b7e6988-e521-4a1e-900b-efd6b80549e1" providerId="ADAL" clId="{773966CE-92C3-40AD-BCCF-6F6A2CB71F58}" dt="2025-06-09T15:33:19.078" v="4642" actId="20577"/>
          <ac:spMkLst>
            <pc:docMk/>
            <pc:sldMk cId="573493541" sldId="718"/>
            <ac:spMk id="2" creationId="{A9ACDF65-FCC8-1B15-2038-CF6AD3B77AA7}"/>
          </ac:spMkLst>
        </pc:spChg>
        <pc:spChg chg="mod">
          <ac:chgData name="reilec.tmb22" userId="0b7e6988-e521-4a1e-900b-efd6b80549e1" providerId="ADAL" clId="{773966CE-92C3-40AD-BCCF-6F6A2CB71F58}" dt="2025-06-09T15:33:29.220" v="4669" actId="20577"/>
          <ac:spMkLst>
            <pc:docMk/>
            <pc:sldMk cId="573493541" sldId="718"/>
            <ac:spMk id="3" creationId="{417D07E9-19FF-9176-FEF6-8E6C59F144DC}"/>
          </ac:spMkLst>
        </pc:spChg>
        <pc:spChg chg="add mod">
          <ac:chgData name="reilec.tmb22" userId="0b7e6988-e521-4a1e-900b-efd6b80549e1" providerId="ADAL" clId="{773966CE-92C3-40AD-BCCF-6F6A2CB71F58}" dt="2025-06-09T15:34:13.152" v="4699" actId="20577"/>
          <ac:spMkLst>
            <pc:docMk/>
            <pc:sldMk cId="573493541" sldId="718"/>
            <ac:spMk id="15" creationId="{954D3DFC-7438-5791-8559-7A78C2C281F9}"/>
          </ac:spMkLst>
        </pc:spChg>
        <pc:spChg chg="add mod">
          <ac:chgData name="reilec.tmb22" userId="0b7e6988-e521-4a1e-900b-efd6b80549e1" providerId="ADAL" clId="{773966CE-92C3-40AD-BCCF-6F6A2CB71F58}" dt="2025-06-09T15:44:53.748" v="5022" actId="1076"/>
          <ac:spMkLst>
            <pc:docMk/>
            <pc:sldMk cId="573493541" sldId="718"/>
            <ac:spMk id="23" creationId="{087AF6F9-5C4E-2CEF-4533-43FDBDE4F74F}"/>
          </ac:spMkLst>
        </pc:spChg>
        <pc:picChg chg="add mod">
          <ac:chgData name="reilec.tmb22" userId="0b7e6988-e521-4a1e-900b-efd6b80549e1" providerId="ADAL" clId="{773966CE-92C3-40AD-BCCF-6F6A2CB71F58}" dt="2025-06-09T15:35:52.941" v="4718" actId="1036"/>
          <ac:picMkLst>
            <pc:docMk/>
            <pc:sldMk cId="573493541" sldId="718"/>
            <ac:picMk id="12" creationId="{F9684BD1-DB5C-243C-C89C-780268C304AA}"/>
          </ac:picMkLst>
        </pc:picChg>
        <pc:cxnChg chg="add mod">
          <ac:chgData name="reilec.tmb22" userId="0b7e6988-e521-4a1e-900b-efd6b80549e1" providerId="ADAL" clId="{773966CE-92C3-40AD-BCCF-6F6A2CB71F58}" dt="2025-06-09T15:44:33.604" v="5017" actId="1582"/>
          <ac:cxnSpMkLst>
            <pc:docMk/>
            <pc:sldMk cId="573493541" sldId="718"/>
            <ac:cxnSpMk id="19" creationId="{784027DC-B6E4-F723-475F-6D29E47A2913}"/>
          </ac:cxnSpMkLst>
        </pc:cxnChg>
        <pc:cxnChg chg="add mod">
          <ac:chgData name="reilec.tmb22" userId="0b7e6988-e521-4a1e-900b-efd6b80549e1" providerId="ADAL" clId="{773966CE-92C3-40AD-BCCF-6F6A2CB71F58}" dt="2025-06-09T15:44:33.604" v="5017" actId="1582"/>
          <ac:cxnSpMkLst>
            <pc:docMk/>
            <pc:sldMk cId="573493541" sldId="718"/>
            <ac:cxnSpMk id="21" creationId="{B04F1520-2FFF-339D-8AE8-0E1258F59981}"/>
          </ac:cxnSpMkLst>
        </pc:cxnChg>
        <pc:cxnChg chg="add mod">
          <ac:chgData name="reilec.tmb22" userId="0b7e6988-e521-4a1e-900b-efd6b80549e1" providerId="ADAL" clId="{773966CE-92C3-40AD-BCCF-6F6A2CB71F58}" dt="2025-06-09T15:44:33.604" v="5017" actId="1582"/>
          <ac:cxnSpMkLst>
            <pc:docMk/>
            <pc:sldMk cId="573493541" sldId="718"/>
            <ac:cxnSpMk id="22" creationId="{0560D12F-B89A-3EDC-436C-52EAFA6CB967}"/>
          </ac:cxnSpMkLst>
        </pc:cxnChg>
      </pc:sldChg>
      <pc:sldChg chg="addSp delSp modSp add mod">
        <pc:chgData name="reilec.tmb22" userId="0b7e6988-e521-4a1e-900b-efd6b80549e1" providerId="ADAL" clId="{773966CE-92C3-40AD-BCCF-6F6A2CB71F58}" dt="2025-06-09T16:09:07.351" v="6749" actId="1076"/>
        <pc:sldMkLst>
          <pc:docMk/>
          <pc:sldMk cId="718428259" sldId="719"/>
        </pc:sldMkLst>
        <pc:spChg chg="add mod">
          <ac:chgData name="reilec.tmb22" userId="0b7e6988-e521-4a1e-900b-efd6b80549e1" providerId="ADAL" clId="{773966CE-92C3-40AD-BCCF-6F6A2CB71F58}" dt="2025-06-09T16:09:07.351" v="6749" actId="1076"/>
          <ac:spMkLst>
            <pc:docMk/>
            <pc:sldMk cId="718428259" sldId="719"/>
            <ac:spMk id="14" creationId="{67AC16E2-EE59-F689-D843-5C90E62A678B}"/>
          </ac:spMkLst>
        </pc:spChg>
        <pc:spChg chg="mod">
          <ac:chgData name="reilec.tmb22" userId="0b7e6988-e521-4a1e-900b-efd6b80549e1" providerId="ADAL" clId="{773966CE-92C3-40AD-BCCF-6F6A2CB71F58}" dt="2025-06-09T15:38:34.154" v="4995" actId="20577"/>
          <ac:spMkLst>
            <pc:docMk/>
            <pc:sldMk cId="718428259" sldId="719"/>
            <ac:spMk id="15" creationId="{75C527DE-4326-E63A-9F93-5F75F431D161}"/>
          </ac:spMkLst>
        </pc:spChg>
        <pc:picChg chg="add mod">
          <ac:chgData name="reilec.tmb22" userId="0b7e6988-e521-4a1e-900b-efd6b80549e1" providerId="ADAL" clId="{773966CE-92C3-40AD-BCCF-6F6A2CB71F58}" dt="2025-06-09T15:45:00.451" v="5025" actId="14100"/>
          <ac:picMkLst>
            <pc:docMk/>
            <pc:sldMk cId="718428259" sldId="719"/>
            <ac:picMk id="9" creationId="{947FDF0F-B4C5-AED8-98E7-EB58DE036E42}"/>
          </ac:picMkLst>
        </pc:picChg>
        <pc:cxnChg chg="add mod">
          <ac:chgData name="reilec.tmb22" userId="0b7e6988-e521-4a1e-900b-efd6b80549e1" providerId="ADAL" clId="{773966CE-92C3-40AD-BCCF-6F6A2CB71F58}" dt="2025-06-09T15:45:12.875" v="5028" actId="1076"/>
          <ac:cxnSpMkLst>
            <pc:docMk/>
            <pc:sldMk cId="718428259" sldId="719"/>
            <ac:cxnSpMk id="11" creationId="{EED73A65-7F0A-E379-C3E4-92F09ADEECDC}"/>
          </ac:cxnSpMkLst>
        </pc:cxnChg>
        <pc:cxnChg chg="add mod">
          <ac:chgData name="reilec.tmb22" userId="0b7e6988-e521-4a1e-900b-efd6b80549e1" providerId="ADAL" clId="{773966CE-92C3-40AD-BCCF-6F6A2CB71F58}" dt="2025-06-09T15:45:07.451" v="5027" actId="14100"/>
          <ac:cxnSpMkLst>
            <pc:docMk/>
            <pc:sldMk cId="718428259" sldId="719"/>
            <ac:cxnSpMk id="13" creationId="{56FAE774-A0F4-A081-EF41-55277448BA44}"/>
          </ac:cxnSpMkLst>
        </pc:cxnChg>
      </pc:sldChg>
      <pc:sldChg chg="addSp delSp modSp add mod ord addAnim delAnim">
        <pc:chgData name="reilec.tmb22" userId="0b7e6988-e521-4a1e-900b-efd6b80549e1" providerId="ADAL" clId="{773966CE-92C3-40AD-BCCF-6F6A2CB71F58}" dt="2025-06-09T16:09:38.361" v="6750" actId="14100"/>
        <pc:sldMkLst>
          <pc:docMk/>
          <pc:sldMk cId="2087536745" sldId="720"/>
        </pc:sldMkLst>
        <pc:spChg chg="add mod">
          <ac:chgData name="reilec.tmb22" userId="0b7e6988-e521-4a1e-900b-efd6b80549e1" providerId="ADAL" clId="{773966CE-92C3-40AD-BCCF-6F6A2CB71F58}" dt="2025-06-09T15:50:23.443" v="5821" actId="20577"/>
          <ac:spMkLst>
            <pc:docMk/>
            <pc:sldMk cId="2087536745" sldId="720"/>
            <ac:spMk id="3" creationId="{F670C7D0-A255-AD15-3A29-E019228E98A5}"/>
          </ac:spMkLst>
        </pc:spChg>
        <pc:spChg chg="add mod">
          <ac:chgData name="reilec.tmb22" userId="0b7e6988-e521-4a1e-900b-efd6b80549e1" providerId="ADAL" clId="{773966CE-92C3-40AD-BCCF-6F6A2CB71F58}" dt="2025-06-09T15:55:17.558" v="6274" actId="207"/>
          <ac:spMkLst>
            <pc:docMk/>
            <pc:sldMk cId="2087536745" sldId="720"/>
            <ac:spMk id="4" creationId="{DE2DB5AD-C9F0-B6D8-8031-69F5806EC42C}"/>
          </ac:spMkLst>
        </pc:spChg>
        <pc:spChg chg="add del mod">
          <ac:chgData name="reilec.tmb22" userId="0b7e6988-e521-4a1e-900b-efd6b80549e1" providerId="ADAL" clId="{773966CE-92C3-40AD-BCCF-6F6A2CB71F58}" dt="2025-06-09T16:09:38.361" v="6750" actId="14100"/>
          <ac:spMkLst>
            <pc:docMk/>
            <pc:sldMk cId="2087536745" sldId="720"/>
            <ac:spMk id="9" creationId="{7323E7AB-2CFD-E791-67AF-7ADCBA75D467}"/>
          </ac:spMkLst>
        </pc:spChg>
        <pc:spChg chg="mod">
          <ac:chgData name="reilec.tmb22" userId="0b7e6988-e521-4a1e-900b-efd6b80549e1" providerId="ADAL" clId="{773966CE-92C3-40AD-BCCF-6F6A2CB71F58}" dt="2025-06-09T15:57:13.435" v="6369" actId="20577"/>
          <ac:spMkLst>
            <pc:docMk/>
            <pc:sldMk cId="2087536745" sldId="720"/>
            <ac:spMk id="42" creationId="{B1D7026A-7905-DB34-BB1F-1A9E52753A2E}"/>
          </ac:spMkLst>
        </pc:spChg>
        <pc:spChg chg="mod">
          <ac:chgData name="reilec.tmb22" userId="0b7e6988-e521-4a1e-900b-efd6b80549e1" providerId="ADAL" clId="{773966CE-92C3-40AD-BCCF-6F6A2CB71F58}" dt="2025-06-09T15:48:56.226" v="5574" actId="20577"/>
          <ac:spMkLst>
            <pc:docMk/>
            <pc:sldMk cId="2087536745" sldId="720"/>
            <ac:spMk id="43" creationId="{C2AA27D6-3693-21CE-5705-51EF915E1F77}"/>
          </ac:spMkLst>
        </pc:spChg>
      </pc:sldChg>
      <pc:sldChg chg="addSp delSp modSp add mod">
        <pc:chgData name="reilec.tmb22" userId="0b7e6988-e521-4a1e-900b-efd6b80549e1" providerId="ADAL" clId="{773966CE-92C3-40AD-BCCF-6F6A2CB71F58}" dt="2025-06-09T16:18:39.034" v="7252" actId="20577"/>
        <pc:sldMkLst>
          <pc:docMk/>
          <pc:sldMk cId="1250413783" sldId="721"/>
        </pc:sldMkLst>
        <pc:spChg chg="mod">
          <ac:chgData name="reilec.tmb22" userId="0b7e6988-e521-4a1e-900b-efd6b80549e1" providerId="ADAL" clId="{773966CE-92C3-40AD-BCCF-6F6A2CB71F58}" dt="2025-06-09T16:18:39.034" v="7252" actId="20577"/>
          <ac:spMkLst>
            <pc:docMk/>
            <pc:sldMk cId="1250413783" sldId="721"/>
            <ac:spMk id="9" creationId="{A8D23267-1844-D715-7652-4D95C7CC9B50}"/>
          </ac:spMkLst>
        </pc:spChg>
        <pc:spChg chg="mod">
          <ac:chgData name="reilec.tmb22" userId="0b7e6988-e521-4a1e-900b-efd6b80549e1" providerId="ADAL" clId="{773966CE-92C3-40AD-BCCF-6F6A2CB71F58}" dt="2025-06-09T15:57:31.643" v="6387" actId="20577"/>
          <ac:spMkLst>
            <pc:docMk/>
            <pc:sldMk cId="1250413783" sldId="721"/>
            <ac:spMk id="42" creationId="{2D69B35A-F94A-FB6A-4710-D25D778E5632}"/>
          </ac:spMkLst>
        </pc:spChg>
        <pc:picChg chg="add mod modCrop">
          <ac:chgData name="reilec.tmb22" userId="0b7e6988-e521-4a1e-900b-efd6b80549e1" providerId="ADAL" clId="{773966CE-92C3-40AD-BCCF-6F6A2CB71F58}" dt="2025-06-09T16:14:04.133" v="7098" actId="1076"/>
          <ac:picMkLst>
            <pc:docMk/>
            <pc:sldMk cId="1250413783" sldId="721"/>
            <ac:picMk id="5" creationId="{2D393874-9AAD-BE3E-3371-980CD0CD25DD}"/>
          </ac:picMkLst>
        </pc:picChg>
      </pc:sldChg>
    </pc:docChg>
  </pc:docChgLst>
  <pc:docChgLst>
    <pc:chgData name="seiboldf.tmb22" userId="S::seiboldf.tmb22@student.dhbw-heidenheim.de::df3edf2f-3342-4456-80d3-fdc875e3af8c" providerId="AD" clId="Web-{E2990596-E83B-6830-1160-DBDEE62184C8}"/>
    <pc:docChg chg="addSld modSld modSection">
      <pc:chgData name="seiboldf.tmb22" userId="S::seiboldf.tmb22@student.dhbw-heidenheim.de::df3edf2f-3342-4456-80d3-fdc875e3af8c" providerId="AD" clId="Web-{E2990596-E83B-6830-1160-DBDEE62184C8}" dt="2025-04-22T11:07:26.236" v="91" actId="14100"/>
      <pc:docMkLst>
        <pc:docMk/>
      </pc:docMkLst>
      <pc:sldChg chg="modSp">
        <pc:chgData name="seiboldf.tmb22" userId="S::seiboldf.tmb22@student.dhbw-heidenheim.de::df3edf2f-3342-4456-80d3-fdc875e3af8c" providerId="AD" clId="Web-{E2990596-E83B-6830-1160-DBDEE62184C8}" dt="2025-04-22T11:07:26.236" v="91" actId="14100"/>
        <pc:sldMkLst>
          <pc:docMk/>
          <pc:sldMk cId="46571281" sldId="654"/>
        </pc:sldMkLst>
      </pc:sldChg>
      <pc:sldChg chg="addSp delSp modSp add replId delAnim">
        <pc:chgData name="seiboldf.tmb22" userId="S::seiboldf.tmb22@student.dhbw-heidenheim.de::df3edf2f-3342-4456-80d3-fdc875e3af8c" providerId="AD" clId="Web-{E2990596-E83B-6830-1160-DBDEE62184C8}" dt="2025-04-22T11:03:49.100" v="89" actId="1076"/>
        <pc:sldMkLst>
          <pc:docMk/>
          <pc:sldMk cId="3141788730" sldId="665"/>
        </pc:sldMkLst>
      </pc:sldChg>
    </pc:docChg>
  </pc:docChgLst>
  <pc:docChgLst>
    <pc:chgData name="bullingerm.tmt22" userId="9ce3b8b2-035f-4175-b301-998b03a50e38" providerId="ADAL" clId="{141171B5-8533-4577-ACD0-930FC57440F8}"/>
    <pc:docChg chg="undo custSel addSld delSld modSld sldOrd modSection">
      <pc:chgData name="bullingerm.tmt22" userId="9ce3b8b2-035f-4175-b301-998b03a50e38" providerId="ADAL" clId="{141171B5-8533-4577-ACD0-930FC57440F8}" dt="2025-04-22T14:26:01.616" v="1581" actId="1036"/>
      <pc:docMkLst>
        <pc:docMk/>
      </pc:docMkLst>
      <pc:sldChg chg="addSp delSp modSp mod">
        <pc:chgData name="bullingerm.tmt22" userId="9ce3b8b2-035f-4175-b301-998b03a50e38" providerId="ADAL" clId="{141171B5-8533-4577-ACD0-930FC57440F8}" dt="2025-04-22T13:55:25.855" v="1236" actId="20577"/>
        <pc:sldMkLst>
          <pc:docMk/>
          <pc:sldMk cId="1339647628" sldId="586"/>
        </pc:sldMkLst>
      </pc:sldChg>
      <pc:sldChg chg="addSp delSp modSp del mod">
        <pc:chgData name="bullingerm.tmt22" userId="9ce3b8b2-035f-4175-b301-998b03a50e38" providerId="ADAL" clId="{141171B5-8533-4577-ACD0-930FC57440F8}" dt="2025-04-21T23:30:41.612" v="425" actId="47"/>
        <pc:sldMkLst>
          <pc:docMk/>
          <pc:sldMk cId="3574513803" sldId="591"/>
        </pc:sldMkLst>
      </pc:sldChg>
      <pc:sldChg chg="del ord">
        <pc:chgData name="bullingerm.tmt22" userId="9ce3b8b2-035f-4175-b301-998b03a50e38" providerId="ADAL" clId="{141171B5-8533-4577-ACD0-930FC57440F8}" dt="2025-04-21T23:38:52.027" v="489" actId="47"/>
        <pc:sldMkLst>
          <pc:docMk/>
          <pc:sldMk cId="3119090323" sldId="622"/>
        </pc:sldMkLst>
      </pc:sldChg>
      <pc:sldChg chg="addSp delSp modSp mod ord">
        <pc:chgData name="bullingerm.tmt22" userId="9ce3b8b2-035f-4175-b301-998b03a50e38" providerId="ADAL" clId="{141171B5-8533-4577-ACD0-930FC57440F8}" dt="2025-04-21T23:44:29.836" v="676" actId="1076"/>
        <pc:sldMkLst>
          <pc:docMk/>
          <pc:sldMk cId="3098618868" sldId="623"/>
        </pc:sldMkLst>
      </pc:sldChg>
      <pc:sldChg chg="modSp mod">
        <pc:chgData name="bullingerm.tmt22" userId="9ce3b8b2-035f-4175-b301-998b03a50e38" providerId="ADAL" clId="{141171B5-8533-4577-ACD0-930FC57440F8}" dt="2025-04-22T13:50:34.432" v="1224" actId="1035"/>
        <pc:sldMkLst>
          <pc:docMk/>
          <pc:sldMk cId="3534934231" sldId="625"/>
        </pc:sldMkLst>
      </pc:sldChg>
      <pc:sldChg chg="delSp modSp del mod">
        <pc:chgData name="bullingerm.tmt22" userId="9ce3b8b2-035f-4175-b301-998b03a50e38" providerId="ADAL" clId="{141171B5-8533-4577-ACD0-930FC57440F8}" dt="2025-04-21T23:30:03.282" v="420" actId="2696"/>
        <pc:sldMkLst>
          <pc:docMk/>
          <pc:sldMk cId="3847375222" sldId="639"/>
        </pc:sldMkLst>
      </pc:sldChg>
      <pc:sldChg chg="del">
        <pc:chgData name="bullingerm.tmt22" userId="9ce3b8b2-035f-4175-b301-998b03a50e38" providerId="ADAL" clId="{141171B5-8533-4577-ACD0-930FC57440F8}" dt="2025-04-21T23:30:03.279" v="417" actId="2696"/>
        <pc:sldMkLst>
          <pc:docMk/>
          <pc:sldMk cId="2418531785" sldId="640"/>
        </pc:sldMkLst>
      </pc:sldChg>
      <pc:sldChg chg="del">
        <pc:chgData name="bullingerm.tmt22" userId="9ce3b8b2-035f-4175-b301-998b03a50e38" providerId="ADAL" clId="{141171B5-8533-4577-ACD0-930FC57440F8}" dt="2025-04-21T23:30:03.276" v="416" actId="2696"/>
        <pc:sldMkLst>
          <pc:docMk/>
          <pc:sldMk cId="997004993" sldId="641"/>
        </pc:sldMkLst>
      </pc:sldChg>
      <pc:sldChg chg="delSp modSp mod ord">
        <pc:chgData name="bullingerm.tmt22" userId="9ce3b8b2-035f-4175-b301-998b03a50e38" providerId="ADAL" clId="{141171B5-8533-4577-ACD0-930FC57440F8}" dt="2025-04-21T23:40:21.728" v="590"/>
        <pc:sldMkLst>
          <pc:docMk/>
          <pc:sldMk cId="3265104741" sldId="642"/>
        </pc:sldMkLst>
      </pc:sldChg>
      <pc:sldChg chg="delSp modSp mod ord">
        <pc:chgData name="bullingerm.tmt22" userId="9ce3b8b2-035f-4175-b301-998b03a50e38" providerId="ADAL" clId="{141171B5-8533-4577-ACD0-930FC57440F8}" dt="2025-04-21T23:40:20.118" v="589"/>
        <pc:sldMkLst>
          <pc:docMk/>
          <pc:sldMk cId="241794236" sldId="643"/>
        </pc:sldMkLst>
      </pc:sldChg>
      <pc:sldChg chg="delSp modSp mod ord">
        <pc:chgData name="bullingerm.tmt22" userId="9ce3b8b2-035f-4175-b301-998b03a50e38" providerId="ADAL" clId="{141171B5-8533-4577-ACD0-930FC57440F8}" dt="2025-04-21T23:40:17.708" v="588"/>
        <pc:sldMkLst>
          <pc:docMk/>
          <pc:sldMk cId="3763831896" sldId="644"/>
        </pc:sldMkLst>
      </pc:sldChg>
      <pc:sldChg chg="addSp delSp modSp mod ord">
        <pc:chgData name="bullingerm.tmt22" userId="9ce3b8b2-035f-4175-b301-998b03a50e38" providerId="ADAL" clId="{141171B5-8533-4577-ACD0-930FC57440F8}" dt="2025-04-21T23:40:15.521" v="587" actId="20577"/>
        <pc:sldMkLst>
          <pc:docMk/>
          <pc:sldMk cId="3419869914" sldId="645"/>
        </pc:sldMkLst>
      </pc:sldChg>
      <pc:sldChg chg="delSp modSp mod ord">
        <pc:chgData name="bullingerm.tmt22" userId="9ce3b8b2-035f-4175-b301-998b03a50e38" providerId="ADAL" clId="{141171B5-8533-4577-ACD0-930FC57440F8}" dt="2025-04-21T23:40:06.876" v="579"/>
        <pc:sldMkLst>
          <pc:docMk/>
          <pc:sldMk cId="3408027728" sldId="646"/>
        </pc:sldMkLst>
      </pc:sldChg>
      <pc:sldChg chg="delSp modSp mod ord">
        <pc:chgData name="bullingerm.tmt22" userId="9ce3b8b2-035f-4175-b301-998b03a50e38" providerId="ADAL" clId="{141171B5-8533-4577-ACD0-930FC57440F8}" dt="2025-04-21T23:40:00.228" v="578"/>
        <pc:sldMkLst>
          <pc:docMk/>
          <pc:sldMk cId="3237586983" sldId="647"/>
        </pc:sldMkLst>
      </pc:sldChg>
      <pc:sldChg chg="modSp new del mod">
        <pc:chgData name="bullingerm.tmt22" userId="9ce3b8b2-035f-4175-b301-998b03a50e38" providerId="ADAL" clId="{141171B5-8533-4577-ACD0-930FC57440F8}" dt="2025-04-21T23:31:47.288" v="436" actId="47"/>
        <pc:sldMkLst>
          <pc:docMk/>
          <pc:sldMk cId="1590047663" sldId="648"/>
        </pc:sldMkLst>
      </pc:sldChg>
      <pc:sldChg chg="modSp add mod">
        <pc:chgData name="bullingerm.tmt22" userId="9ce3b8b2-035f-4175-b301-998b03a50e38" providerId="ADAL" clId="{141171B5-8533-4577-ACD0-930FC57440F8}" dt="2025-04-21T23:44:13.223" v="651" actId="20577"/>
        <pc:sldMkLst>
          <pc:docMk/>
          <pc:sldMk cId="2711219196" sldId="648"/>
        </pc:sldMkLst>
      </pc:sldChg>
      <pc:sldChg chg="addSp delSp modSp mod delAnim modAnim">
        <pc:chgData name="bullingerm.tmt22" userId="9ce3b8b2-035f-4175-b301-998b03a50e38" providerId="ADAL" clId="{141171B5-8533-4577-ACD0-930FC57440F8}" dt="2025-04-22T14:23:00.488" v="1530" actId="478"/>
        <pc:sldMkLst>
          <pc:docMk/>
          <pc:sldMk cId="2840064016" sldId="651"/>
        </pc:sldMkLst>
      </pc:sldChg>
      <pc:sldChg chg="modSp mod">
        <pc:chgData name="bullingerm.tmt22" userId="9ce3b8b2-035f-4175-b301-998b03a50e38" providerId="ADAL" clId="{141171B5-8533-4577-ACD0-930FC57440F8}" dt="2025-04-22T14:22:41.391" v="1527" actId="1035"/>
        <pc:sldMkLst>
          <pc:docMk/>
          <pc:sldMk cId="3388882345" sldId="652"/>
        </pc:sldMkLst>
      </pc:sldChg>
      <pc:sldChg chg="modSp mod">
        <pc:chgData name="bullingerm.tmt22" userId="9ce3b8b2-035f-4175-b301-998b03a50e38" providerId="ADAL" clId="{141171B5-8533-4577-ACD0-930FC57440F8}" dt="2025-04-22T14:22:34.446" v="1525" actId="14100"/>
        <pc:sldMkLst>
          <pc:docMk/>
          <pc:sldMk cId="46571281" sldId="654"/>
        </pc:sldMkLst>
      </pc:sldChg>
      <pc:sldChg chg="addSp delSp modSp mod">
        <pc:chgData name="bullingerm.tmt22" userId="9ce3b8b2-035f-4175-b301-998b03a50e38" providerId="ADAL" clId="{141171B5-8533-4577-ACD0-930FC57440F8}" dt="2025-04-22T12:12:40.178" v="758" actId="20577"/>
        <pc:sldMkLst>
          <pc:docMk/>
          <pc:sldMk cId="2121743425" sldId="655"/>
        </pc:sldMkLst>
      </pc:sldChg>
      <pc:sldChg chg="addSp modSp add mod">
        <pc:chgData name="bullingerm.tmt22" userId="9ce3b8b2-035f-4175-b301-998b03a50e38" providerId="ADAL" clId="{141171B5-8533-4577-ACD0-930FC57440F8}" dt="2025-04-22T12:23:19.572" v="824" actId="20577"/>
        <pc:sldMkLst>
          <pc:docMk/>
          <pc:sldMk cId="3108981678" sldId="659"/>
        </pc:sldMkLst>
      </pc:sldChg>
      <pc:sldChg chg="addSp delSp modSp mod">
        <pc:chgData name="bullingerm.tmt22" userId="9ce3b8b2-035f-4175-b301-998b03a50e38" providerId="ADAL" clId="{141171B5-8533-4577-ACD0-930FC57440F8}" dt="2025-04-22T14:21:44.702" v="1517" actId="14100"/>
        <pc:sldMkLst>
          <pc:docMk/>
          <pc:sldMk cId="1194765832" sldId="660"/>
        </pc:sldMkLst>
      </pc:sldChg>
      <pc:sldChg chg="modSp mod modAnim">
        <pc:chgData name="bullingerm.tmt22" userId="9ce3b8b2-035f-4175-b301-998b03a50e38" providerId="ADAL" clId="{141171B5-8533-4577-ACD0-930FC57440F8}" dt="2025-04-22T14:26:01.616" v="1581" actId="1036"/>
        <pc:sldMkLst>
          <pc:docMk/>
          <pc:sldMk cId="581652493" sldId="663"/>
        </pc:sldMkLst>
      </pc:sldChg>
      <pc:sldChg chg="modSp mod">
        <pc:chgData name="bullingerm.tmt22" userId="9ce3b8b2-035f-4175-b301-998b03a50e38" providerId="ADAL" clId="{141171B5-8533-4577-ACD0-930FC57440F8}" dt="2025-04-22T14:22:08.382" v="1518" actId="1076"/>
        <pc:sldMkLst>
          <pc:docMk/>
          <pc:sldMk cId="3141788730" sldId="665"/>
        </pc:sldMkLst>
      </pc:sldChg>
      <pc:sldChg chg="modSp mod">
        <pc:chgData name="bullingerm.tmt22" userId="9ce3b8b2-035f-4175-b301-998b03a50e38" providerId="ADAL" clId="{141171B5-8533-4577-ACD0-930FC57440F8}" dt="2025-04-22T14:20:30.829" v="1501" actId="20577"/>
        <pc:sldMkLst>
          <pc:docMk/>
          <pc:sldMk cId="1086977521" sldId="669"/>
        </pc:sldMkLst>
      </pc:sldChg>
      <pc:sldChg chg="addSp delSp modSp mod delAnim modAnim">
        <pc:chgData name="bullingerm.tmt22" userId="9ce3b8b2-035f-4175-b301-998b03a50e38" providerId="ADAL" clId="{141171B5-8533-4577-ACD0-930FC57440F8}" dt="2025-04-22T14:24:34.074" v="1551" actId="1038"/>
        <pc:sldMkLst>
          <pc:docMk/>
          <pc:sldMk cId="3141084410" sldId="674"/>
        </pc:sldMkLst>
      </pc:sldChg>
      <pc:sldChg chg="addSp delSp modSp mod delAnim modAnim">
        <pc:chgData name="bullingerm.tmt22" userId="9ce3b8b2-035f-4175-b301-998b03a50e38" providerId="ADAL" clId="{141171B5-8533-4577-ACD0-930FC57440F8}" dt="2025-04-22T14:23:29.997" v="1537" actId="1076"/>
        <pc:sldMkLst>
          <pc:docMk/>
          <pc:sldMk cId="3585174266" sldId="675"/>
        </pc:sldMkLst>
      </pc:sldChg>
      <pc:sldChg chg="modSp mod">
        <pc:chgData name="bullingerm.tmt22" userId="9ce3b8b2-035f-4175-b301-998b03a50e38" providerId="ADAL" clId="{141171B5-8533-4577-ACD0-930FC57440F8}" dt="2025-04-22T13:58:52.907" v="1302" actId="1038"/>
        <pc:sldMkLst>
          <pc:docMk/>
          <pc:sldMk cId="1520689549" sldId="676"/>
        </pc:sldMkLst>
      </pc:sldChg>
      <pc:sldChg chg="modSp mod">
        <pc:chgData name="bullingerm.tmt22" userId="9ce3b8b2-035f-4175-b301-998b03a50e38" providerId="ADAL" clId="{141171B5-8533-4577-ACD0-930FC57440F8}" dt="2025-04-22T14:20:51.427" v="1515" actId="1038"/>
        <pc:sldMkLst>
          <pc:docMk/>
          <pc:sldMk cId="775585486" sldId="677"/>
        </pc:sldMkLst>
      </pc:sldChg>
      <pc:sldChg chg="addSp delSp modSp mod">
        <pc:chgData name="bullingerm.tmt22" userId="9ce3b8b2-035f-4175-b301-998b03a50e38" providerId="ADAL" clId="{141171B5-8533-4577-ACD0-930FC57440F8}" dt="2025-04-22T14:04:09.769" v="1409" actId="20577"/>
        <pc:sldMkLst>
          <pc:docMk/>
          <pc:sldMk cId="3106000447" sldId="678"/>
        </pc:sldMkLst>
      </pc:sldChg>
      <pc:sldChg chg="addSp delSp modSp mod">
        <pc:chgData name="bullingerm.tmt22" userId="9ce3b8b2-035f-4175-b301-998b03a50e38" providerId="ADAL" clId="{141171B5-8533-4577-ACD0-930FC57440F8}" dt="2025-04-22T14:06:08.474" v="1466" actId="478"/>
        <pc:sldMkLst>
          <pc:docMk/>
          <pc:sldMk cId="1916272374" sldId="679"/>
        </pc:sldMkLst>
      </pc:sldChg>
      <pc:sldChg chg="addSp delSp modSp mod">
        <pc:chgData name="bullingerm.tmt22" userId="9ce3b8b2-035f-4175-b301-998b03a50e38" providerId="ADAL" clId="{141171B5-8533-4577-ACD0-930FC57440F8}" dt="2025-04-22T14:06:45.082" v="1496" actId="208"/>
        <pc:sldMkLst>
          <pc:docMk/>
          <pc:sldMk cId="3885160775" sldId="680"/>
        </pc:sldMkLst>
      </pc:sldChg>
      <pc:sldChg chg="addSp delSp modSp add mod">
        <pc:chgData name="bullingerm.tmt22" userId="9ce3b8b2-035f-4175-b301-998b03a50e38" providerId="ADAL" clId="{141171B5-8533-4577-ACD0-930FC57440F8}" dt="2025-04-22T13:49:42.874" v="1207" actId="1076"/>
        <pc:sldMkLst>
          <pc:docMk/>
          <pc:sldMk cId="2165355636" sldId="681"/>
        </pc:sldMkLst>
      </pc:sldChg>
      <pc:sldChg chg="new del">
        <pc:chgData name="bullingerm.tmt22" userId="9ce3b8b2-035f-4175-b301-998b03a50e38" providerId="ADAL" clId="{141171B5-8533-4577-ACD0-930FC57440F8}" dt="2025-04-22T12:28:48.614" v="859" actId="47"/>
        <pc:sldMkLst>
          <pc:docMk/>
          <pc:sldMk cId="3957057255" sldId="683"/>
        </pc:sldMkLst>
      </pc:sldChg>
      <pc:sldChg chg="addSp delSp modSp add mod ord">
        <pc:chgData name="bullingerm.tmt22" userId="9ce3b8b2-035f-4175-b301-998b03a50e38" providerId="ADAL" clId="{141171B5-8533-4577-ACD0-930FC57440F8}" dt="2025-04-22T12:31:32.450" v="900" actId="20577"/>
        <pc:sldMkLst>
          <pc:docMk/>
          <pc:sldMk cId="3735220174" sldId="684"/>
        </pc:sldMkLst>
      </pc:sldChg>
      <pc:sldChg chg="addSp modSp mod">
        <pc:chgData name="bullingerm.tmt22" userId="9ce3b8b2-035f-4175-b301-998b03a50e38" providerId="ADAL" clId="{141171B5-8533-4577-ACD0-930FC57440F8}" dt="2025-04-22T13:49:15.689" v="1203" actId="1076"/>
        <pc:sldMkLst>
          <pc:docMk/>
          <pc:sldMk cId="1591261179" sldId="685"/>
        </pc:sldMkLst>
      </pc:sldChg>
      <pc:sldChg chg="modSp mod">
        <pc:chgData name="bullingerm.tmt22" userId="9ce3b8b2-035f-4175-b301-998b03a50e38" providerId="ADAL" clId="{141171B5-8533-4577-ACD0-930FC57440F8}" dt="2025-04-22T14:06:58.250" v="1499" actId="1035"/>
        <pc:sldMkLst>
          <pc:docMk/>
          <pc:sldMk cId="1266525283" sldId="686"/>
        </pc:sldMkLst>
      </pc:sldChg>
      <pc:sldChg chg="addSp delSp modSp mod">
        <pc:chgData name="bullingerm.tmt22" userId="9ce3b8b2-035f-4175-b301-998b03a50e38" providerId="ADAL" clId="{141171B5-8533-4577-ACD0-930FC57440F8}" dt="2025-04-22T13:48:49.892" v="1150" actId="113"/>
        <pc:sldMkLst>
          <pc:docMk/>
          <pc:sldMk cId="3158016746" sldId="687"/>
        </pc:sldMkLst>
      </pc:sldChg>
    </pc:docChg>
  </pc:docChgLst>
  <pc:docChgLst>
    <pc:chgData name="bullingerm.tmt22" userId="S::bullingerm.tmt22@student.dhbw-heidenheim.de::9ce3b8b2-035f-4175-b301-998b03a50e38" providerId="AD" clId="Web-{6D727AD4-86FA-A2A5-0E26-E54B53E45016}"/>
    <pc:docChg chg="modSld">
      <pc:chgData name="bullingerm.tmt22" userId="S::bullingerm.tmt22@student.dhbw-heidenheim.de::9ce3b8b2-035f-4175-b301-998b03a50e38" providerId="AD" clId="Web-{6D727AD4-86FA-A2A5-0E26-E54B53E45016}" dt="2025-04-22T00:10:36.741" v="29" actId="20577"/>
      <pc:docMkLst>
        <pc:docMk/>
      </pc:docMkLst>
    </pc:docChg>
  </pc:docChgLst>
  <pc:docChgLst>
    <pc:chgData name="haeberlea.tmb22" userId="S::haeberlea.tmb22@student.dhbw-heidenheim.de::e23f6701-6707-4a4b-a757-e56ad2eaf1e8" providerId="AD" clId="Web-{F617F4C3-57E0-3649-061C-B57C224E0D84}"/>
    <pc:docChg chg="addSld delSld modSld modSection">
      <pc:chgData name="haeberlea.tmb22" userId="S::haeberlea.tmb22@student.dhbw-heidenheim.de::e23f6701-6707-4a4b-a757-e56ad2eaf1e8" providerId="AD" clId="Web-{F617F4C3-57E0-3649-061C-B57C224E0D84}" dt="2025-04-22T11:00:26.055" v="6" actId="1076"/>
      <pc:docMkLst>
        <pc:docMk/>
      </pc:docMkLst>
      <pc:sldChg chg="del">
        <pc:chgData name="haeberlea.tmb22" userId="S::haeberlea.tmb22@student.dhbw-heidenheim.de::e23f6701-6707-4a4b-a757-e56ad2eaf1e8" providerId="AD" clId="Web-{F617F4C3-57E0-3649-061C-B57C224E0D84}" dt="2025-04-22T11:00:12.070" v="3"/>
        <pc:sldMkLst>
          <pc:docMk/>
          <pc:sldMk cId="1652655923" sldId="657"/>
        </pc:sldMkLst>
      </pc:sldChg>
      <pc:sldChg chg="add replId">
        <pc:chgData name="haeberlea.tmb22" userId="S::haeberlea.tmb22@student.dhbw-heidenheim.de::e23f6701-6707-4a4b-a757-e56ad2eaf1e8" providerId="AD" clId="Web-{F617F4C3-57E0-3649-061C-B57C224E0D84}" dt="2025-04-22T10:59:59.929" v="0"/>
        <pc:sldMkLst>
          <pc:docMk/>
          <pc:sldMk cId="543452474" sldId="671"/>
        </pc:sldMkLst>
      </pc:sldChg>
      <pc:sldChg chg="add replId">
        <pc:chgData name="haeberlea.tmb22" userId="S::haeberlea.tmb22@student.dhbw-heidenheim.de::e23f6701-6707-4a4b-a757-e56ad2eaf1e8" providerId="AD" clId="Web-{F617F4C3-57E0-3649-061C-B57C224E0D84}" dt="2025-04-22T11:00:02.289" v="1"/>
        <pc:sldMkLst>
          <pc:docMk/>
          <pc:sldMk cId="1248099481" sldId="672"/>
        </pc:sldMkLst>
      </pc:sldChg>
      <pc:sldChg chg="addSp modSp add replId">
        <pc:chgData name="haeberlea.tmb22" userId="S::haeberlea.tmb22@student.dhbw-heidenheim.de::e23f6701-6707-4a4b-a757-e56ad2eaf1e8" providerId="AD" clId="Web-{F617F4C3-57E0-3649-061C-B57C224E0D84}" dt="2025-04-22T11:00:26.055" v="6" actId="1076"/>
        <pc:sldMkLst>
          <pc:docMk/>
          <pc:sldMk cId="2762745259" sldId="673"/>
        </pc:sldMkLst>
      </pc:sldChg>
    </pc:docChg>
  </pc:docChgLst>
  <pc:docChgLst>
    <pc:chgData name="seiboldf.tmb22" userId="df3edf2f-3342-4456-80d3-fdc875e3af8c" providerId="ADAL" clId="{A1CAE88D-4026-0E41-BECA-B9AB9E6A7219}"/>
    <pc:docChg chg="undo custSel addSld modSld modSection">
      <pc:chgData name="seiboldf.tmb22" userId="df3edf2f-3342-4456-80d3-fdc875e3af8c" providerId="ADAL" clId="{A1CAE88D-4026-0E41-BECA-B9AB9E6A7219}" dt="2025-04-01T11:49:21.366" v="269" actId="1076"/>
      <pc:docMkLst>
        <pc:docMk/>
      </pc:docMkLst>
      <pc:sldChg chg="modSp">
        <pc:chgData name="seiboldf.tmb22" userId="df3edf2f-3342-4456-80d3-fdc875e3af8c" providerId="ADAL" clId="{A1CAE88D-4026-0E41-BECA-B9AB9E6A7219}" dt="2025-04-01T11:32:13.989" v="250" actId="20577"/>
        <pc:sldMkLst>
          <pc:docMk/>
          <pc:sldMk cId="1339647628" sldId="586"/>
        </pc:sldMkLst>
      </pc:sldChg>
      <pc:sldChg chg="addSp modSp">
        <pc:chgData name="seiboldf.tmb22" userId="df3edf2f-3342-4456-80d3-fdc875e3af8c" providerId="ADAL" clId="{A1CAE88D-4026-0E41-BECA-B9AB9E6A7219}" dt="2025-04-01T11:15:55.726" v="129" actId="20577"/>
        <pc:sldMkLst>
          <pc:docMk/>
          <pc:sldMk cId="2756117336" sldId="630"/>
        </pc:sldMkLst>
      </pc:sldChg>
      <pc:sldChg chg="addSp delSp modSp">
        <pc:chgData name="seiboldf.tmb22" userId="df3edf2f-3342-4456-80d3-fdc875e3af8c" providerId="ADAL" clId="{A1CAE88D-4026-0E41-BECA-B9AB9E6A7219}" dt="2025-04-01T11:43:27.089" v="256" actId="1076"/>
        <pc:sldMkLst>
          <pc:docMk/>
          <pc:sldMk cId="3905572149" sldId="633"/>
        </pc:sldMkLst>
      </pc:sldChg>
      <pc:sldChg chg="addSp delSp modSp">
        <pc:chgData name="seiboldf.tmb22" userId="df3edf2f-3342-4456-80d3-fdc875e3af8c" providerId="ADAL" clId="{A1CAE88D-4026-0E41-BECA-B9AB9E6A7219}" dt="2025-04-01T11:49:21.366" v="269" actId="1076"/>
        <pc:sldMkLst>
          <pc:docMk/>
          <pc:sldMk cId="3525816418" sldId="634"/>
        </pc:sldMkLst>
      </pc:sldChg>
    </pc:docChg>
  </pc:docChgLst>
  <pc:docChgLst>
    <pc:chgData name="Hannes Maurer" userId="7aa1423c-8795-49e0-8989-d53f8102476c" providerId="ADAL" clId="{EB2F38F5-5EB9-4782-9C23-0FD2ADCE9FC7}"/>
    <pc:docChg chg="undo custSel addSld delSld modSld modSection">
      <pc:chgData name="Hannes Maurer" userId="7aa1423c-8795-49e0-8989-d53f8102476c" providerId="ADAL" clId="{EB2F38F5-5EB9-4782-9C23-0FD2ADCE9FC7}" dt="2025-04-22T13:24:48.893" v="1211" actId="20577"/>
      <pc:docMkLst>
        <pc:docMk/>
      </pc:docMkLst>
      <pc:sldChg chg="modSp">
        <pc:chgData name="Hannes Maurer" userId="7aa1423c-8795-49e0-8989-d53f8102476c" providerId="ADAL" clId="{EB2F38F5-5EB9-4782-9C23-0FD2ADCE9FC7}" dt="2025-04-22T12:42:47.053" v="603" actId="20577"/>
        <pc:sldMkLst>
          <pc:docMk/>
          <pc:sldMk cId="3664439336" sldId="262"/>
        </pc:sldMkLst>
      </pc:sldChg>
      <pc:sldChg chg="del">
        <pc:chgData name="Hannes Maurer" userId="7aa1423c-8795-49e0-8989-d53f8102476c" providerId="ADAL" clId="{EB2F38F5-5EB9-4782-9C23-0FD2ADCE9FC7}" dt="2025-04-22T13:18:07.618" v="1088" actId="2696"/>
        <pc:sldMkLst>
          <pc:docMk/>
          <pc:sldMk cId="1165364471" sldId="653"/>
        </pc:sldMkLst>
      </pc:sldChg>
      <pc:sldChg chg="addSp delSp modSp del">
        <pc:chgData name="Hannes Maurer" userId="7aa1423c-8795-49e0-8989-d53f8102476c" providerId="ADAL" clId="{EB2F38F5-5EB9-4782-9C23-0FD2ADCE9FC7}" dt="2025-04-22T13:12:19.449" v="1087" actId="2696"/>
        <pc:sldMkLst>
          <pc:docMk/>
          <pc:sldMk cId="3452969880" sldId="656"/>
        </pc:sldMkLst>
      </pc:sldChg>
      <pc:sldChg chg="addSp modSp">
        <pc:chgData name="Hannes Maurer" userId="7aa1423c-8795-49e0-8989-d53f8102476c" providerId="ADAL" clId="{EB2F38F5-5EB9-4782-9C23-0FD2ADCE9FC7}" dt="2025-04-22T12:13:27.170" v="93" actId="1076"/>
        <pc:sldMkLst>
          <pc:docMk/>
          <pc:sldMk cId="3106000447" sldId="678"/>
        </pc:sldMkLst>
      </pc:sldChg>
      <pc:sldChg chg="addSp delSp modSp">
        <pc:chgData name="Hannes Maurer" userId="7aa1423c-8795-49e0-8989-d53f8102476c" providerId="ADAL" clId="{EB2F38F5-5EB9-4782-9C23-0FD2ADCE9FC7}" dt="2025-04-22T12:57:45.660" v="824" actId="20577"/>
        <pc:sldMkLst>
          <pc:docMk/>
          <pc:sldMk cId="1916272374" sldId="679"/>
        </pc:sldMkLst>
      </pc:sldChg>
      <pc:sldChg chg="addSp delSp modSp add">
        <pc:chgData name="Hannes Maurer" userId="7aa1423c-8795-49e0-8989-d53f8102476c" providerId="ADAL" clId="{EB2F38F5-5EB9-4782-9C23-0FD2ADCE9FC7}" dt="2025-04-22T13:23:32.836" v="1191" actId="14100"/>
        <pc:sldMkLst>
          <pc:docMk/>
          <pc:sldMk cId="3885160775" sldId="680"/>
        </pc:sldMkLst>
      </pc:sldChg>
      <pc:sldChg chg="delSp modSp add">
        <pc:chgData name="Hannes Maurer" userId="7aa1423c-8795-49e0-8989-d53f8102476c" providerId="ADAL" clId="{EB2F38F5-5EB9-4782-9C23-0FD2ADCE9FC7}" dt="2025-04-22T12:34:20.022" v="264" actId="478"/>
        <pc:sldMkLst>
          <pc:docMk/>
          <pc:sldMk cId="1266525283" sldId="681"/>
        </pc:sldMkLst>
      </pc:sldChg>
      <pc:sldChg chg="addSp modSp">
        <pc:chgData name="Hannes Maurer" userId="7aa1423c-8795-49e0-8989-d53f8102476c" providerId="ADAL" clId="{EB2F38F5-5EB9-4782-9C23-0FD2ADCE9FC7}" dt="2025-04-22T13:24:48.893" v="1211" actId="20577"/>
        <pc:sldMkLst>
          <pc:docMk/>
          <pc:sldMk cId="1266525283" sldId="686"/>
        </pc:sldMkLst>
      </pc:sldChg>
    </pc:docChg>
  </pc:docChgLst>
  <pc:docChgLst>
    <pc:chgData name="haeberlea.tmb22" userId="S::haeberlea.tmb22@student.dhbw-heidenheim.de::e23f6701-6707-4a4b-a757-e56ad2eaf1e8" providerId="AD" clId="Web-{BB0742C7-85EC-2C2D-766A-0D6094329A0D}"/>
    <pc:docChg chg="addSld delSld modSld sldOrd modSection">
      <pc:chgData name="haeberlea.tmb22" userId="S::haeberlea.tmb22@student.dhbw-heidenheim.de::e23f6701-6707-4a4b-a757-e56ad2eaf1e8" providerId="AD" clId="Web-{BB0742C7-85EC-2C2D-766A-0D6094329A0D}" dt="2025-04-22T10:13:07.156" v="92"/>
      <pc:docMkLst>
        <pc:docMk/>
      </pc:docMkLst>
      <pc:sldChg chg="modSp">
        <pc:chgData name="haeberlea.tmb22" userId="S::haeberlea.tmb22@student.dhbw-heidenheim.de::e23f6701-6707-4a4b-a757-e56ad2eaf1e8" providerId="AD" clId="Web-{BB0742C7-85EC-2C2D-766A-0D6094329A0D}" dt="2025-04-22T09:10:53.598" v="79" actId="14100"/>
        <pc:sldMkLst>
          <pc:docMk/>
          <pc:sldMk cId="3664439336" sldId="262"/>
        </pc:sldMkLst>
      </pc:sldChg>
      <pc:sldChg chg="modSp">
        <pc:chgData name="haeberlea.tmb22" userId="S::haeberlea.tmb22@student.dhbw-heidenheim.de::e23f6701-6707-4a4b-a757-e56ad2eaf1e8" providerId="AD" clId="Web-{BB0742C7-85EC-2C2D-766A-0D6094329A0D}" dt="2025-04-22T06:28:31.055" v="0" actId="20577"/>
        <pc:sldMkLst>
          <pc:docMk/>
          <pc:sldMk cId="3265104741" sldId="642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3:39.866" v="4"/>
        <pc:sldMkLst>
          <pc:docMk/>
          <pc:sldMk cId="60339716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3:51.616" v="6"/>
        <pc:sldMkLst>
          <pc:docMk/>
          <pc:sldMk cId="332692753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3:17.896" v="2"/>
        <pc:sldMkLst>
          <pc:docMk/>
          <pc:sldMk cId="773218798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4:14.508" v="8"/>
        <pc:sldMkLst>
          <pc:docMk/>
          <pc:sldMk cId="2485242472" sldId="649"/>
        </pc:sldMkLst>
      </pc:sldChg>
      <pc:sldChg chg="addSp delSp modSp add replId">
        <pc:chgData name="haeberlea.tmb22" userId="S::haeberlea.tmb22@student.dhbw-heidenheim.de::e23f6701-6707-4a4b-a757-e56ad2eaf1e8" providerId="AD" clId="Web-{BB0742C7-85EC-2C2D-766A-0D6094329A0D}" dt="2025-04-22T10:03:09.939" v="91"/>
        <pc:sldMkLst>
          <pc:docMk/>
          <pc:sldMk cId="3837770887" sldId="649"/>
        </pc:sldMkLst>
      </pc:sldChg>
      <pc:sldChg chg="modSp add replId">
        <pc:chgData name="haeberlea.tmb22" userId="S::haeberlea.tmb22@student.dhbw-heidenheim.de::e23f6701-6707-4a4b-a757-e56ad2eaf1e8" providerId="AD" clId="Web-{BB0742C7-85EC-2C2D-766A-0D6094329A0D}" dt="2025-04-22T06:36:30.003" v="32" actId="20577"/>
        <pc:sldMkLst>
          <pc:docMk/>
          <pc:sldMk cId="2269644659" sldId="650"/>
        </pc:sldMkLst>
      </pc:sldChg>
      <pc:sldChg chg="modSp add replId">
        <pc:chgData name="haeberlea.tmb22" userId="S::haeberlea.tmb22@student.dhbw-heidenheim.de::e23f6701-6707-4a4b-a757-e56ad2eaf1e8" providerId="AD" clId="Web-{BB0742C7-85EC-2C2D-766A-0D6094329A0D}" dt="2025-04-22T06:38:03.523" v="70" actId="20577"/>
        <pc:sldMkLst>
          <pc:docMk/>
          <pc:sldMk cId="2840064016" sldId="651"/>
        </pc:sldMkLst>
      </pc:sldChg>
      <pc:sldChg chg="modSp add ord replId">
        <pc:chgData name="haeberlea.tmb22" userId="S::haeberlea.tmb22@student.dhbw-heidenheim.de::e23f6701-6707-4a4b-a757-e56ad2eaf1e8" providerId="AD" clId="Web-{BB0742C7-85EC-2C2D-766A-0D6094329A0D}" dt="2025-04-22T10:13:07.156" v="92"/>
        <pc:sldMkLst>
          <pc:docMk/>
          <pc:sldMk cId="1652655923" sldId="657"/>
        </pc:sldMkLst>
      </pc:sldChg>
    </pc:docChg>
  </pc:docChgLst>
  <pc:docChgLst>
    <pc:chgData name="staehlef.tmb22" userId="737d0583-0f84-4afa-9d32-9dff97d0f705" providerId="ADAL" clId="{9C1749FF-DA83-4818-A4C6-715A943AAFE4}"/>
    <pc:docChg chg="addSld modSld">
      <pc:chgData name="staehlef.tmb22" userId="737d0583-0f84-4afa-9d32-9dff97d0f705" providerId="ADAL" clId="{9C1749FF-DA83-4818-A4C6-715A943AAFE4}" dt="2025-04-22T09:16:36.845" v="85" actId="20577"/>
      <pc:docMkLst>
        <pc:docMk/>
      </pc:docMkLst>
      <pc:sldChg chg="modSp add">
        <pc:chgData name="staehlef.tmb22" userId="737d0583-0f84-4afa-9d32-9dff97d0f705" providerId="ADAL" clId="{9C1749FF-DA83-4818-A4C6-715A943AAFE4}" dt="2025-04-22T09:16:36.845" v="85" actId="20577"/>
        <pc:sldMkLst>
          <pc:docMk/>
          <pc:sldMk cId="3126125948" sldId="658"/>
        </pc:sldMkLst>
      </pc:sldChg>
    </pc:docChg>
  </pc:docChgLst>
  <pc:docChgLst>
    <pc:chgData name="Bullinger, Marvin" userId="5b54ce5a-dc89-476f-af33-5abd75d5b1e8" providerId="ADAL" clId="{40A25FFA-8C31-44AB-96A2-0003BFD9D07A}"/>
    <pc:docChg chg="undo custSel addSld delSld modSld modSection">
      <pc:chgData name="Bullinger, Marvin" userId="5b54ce5a-dc89-476f-af33-5abd75d5b1e8" providerId="ADAL" clId="{40A25FFA-8C31-44AB-96A2-0003BFD9D07A}" dt="2025-07-03T14:45:21.304" v="17" actId="478"/>
      <pc:docMkLst>
        <pc:docMk/>
      </pc:docMkLst>
      <pc:sldChg chg="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696754893" sldId="599"/>
        </pc:sldMkLst>
      </pc:sldChg>
      <pc:sldChg chg="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99220408" sldId="620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098618868" sldId="623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534934231" sldId="625"/>
        </pc:sldMkLst>
      </pc:sldChg>
      <pc:sldChg chg="del">
        <pc:chgData name="Bullinger, Marvin" userId="5b54ce5a-dc89-476f-af33-5abd75d5b1e8" providerId="ADAL" clId="{40A25FFA-8C31-44AB-96A2-0003BFD9D07A}" dt="2025-07-03T14:44:52.360" v="14" actId="47"/>
        <pc:sldMkLst>
          <pc:docMk/>
          <pc:sldMk cId="52686789" sldId="631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763831896" sldId="644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419869914" sldId="645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408027728" sldId="646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237586983" sldId="647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711219196" sldId="648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837770887" sldId="649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269644659" sldId="650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840064016" sldId="651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388882345" sldId="652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46571281" sldId="654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121743425" sldId="655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126125948" sldId="658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194765832" sldId="660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182309661" sldId="661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581652493" sldId="663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861624178" sldId="667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314778286" sldId="668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086977521" sldId="669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141084410" sldId="674"/>
        </pc:sldMkLst>
      </pc:sldChg>
      <pc:sldChg chg="addSp delSp modSp add del mod delAnim">
        <pc:chgData name="Bullinger, Marvin" userId="5b54ce5a-dc89-476f-af33-5abd75d5b1e8" providerId="ADAL" clId="{40A25FFA-8C31-44AB-96A2-0003BFD9D07A}" dt="2025-07-03T14:44:52.360" v="14" actId="47"/>
        <pc:sldMkLst>
          <pc:docMk/>
          <pc:sldMk cId="3585174266" sldId="675"/>
        </pc:sldMkLst>
        <pc:graphicFrameChg chg="del">
          <ac:chgData name="Bullinger, Marvin" userId="5b54ce5a-dc89-476f-af33-5abd75d5b1e8" providerId="ADAL" clId="{40A25FFA-8C31-44AB-96A2-0003BFD9D07A}" dt="2025-07-03T14:44:12.061" v="10" actId="478"/>
          <ac:graphicFrameMkLst>
            <pc:docMk/>
            <pc:sldMk cId="3585174266" sldId="675"/>
            <ac:graphicFrameMk id="2" creationId="{9AF3E1BA-E85E-A501-8738-C45D146AA5F0}"/>
          </ac:graphicFrameMkLst>
        </pc:graphicFrameChg>
        <pc:picChg chg="add mod">
          <ac:chgData name="Bullinger, Marvin" userId="5b54ce5a-dc89-476f-af33-5abd75d5b1e8" providerId="ADAL" clId="{40A25FFA-8C31-44AB-96A2-0003BFD9D07A}" dt="2025-07-03T14:44:12.352" v="11"/>
          <ac:picMkLst>
            <pc:docMk/>
            <pc:sldMk cId="3585174266" sldId="675"/>
            <ac:picMk id="3" creationId="{C3B791A5-0E72-7257-6917-53FB2CEADD86}"/>
          </ac:picMkLst>
        </pc:picChg>
      </pc:sldChg>
      <pc:sldChg chg="addSp delSp modSp add del mod delAnim">
        <pc:chgData name="Bullinger, Marvin" userId="5b54ce5a-dc89-476f-af33-5abd75d5b1e8" providerId="ADAL" clId="{40A25FFA-8C31-44AB-96A2-0003BFD9D07A}" dt="2025-07-03T14:44:52.360" v="14" actId="47"/>
        <pc:sldMkLst>
          <pc:docMk/>
          <pc:sldMk cId="1520689549" sldId="676"/>
        </pc:sldMkLst>
        <pc:graphicFrameChg chg="del">
          <ac:chgData name="Bullinger, Marvin" userId="5b54ce5a-dc89-476f-af33-5abd75d5b1e8" providerId="ADAL" clId="{40A25FFA-8C31-44AB-96A2-0003BFD9D07A}" dt="2025-07-03T14:44:05.829" v="7" actId="478"/>
          <ac:graphicFrameMkLst>
            <pc:docMk/>
            <pc:sldMk cId="1520689549" sldId="676"/>
            <ac:graphicFrameMk id="3" creationId="{466584C2-2C21-487F-99EB-270947826A6E}"/>
          </ac:graphicFrameMkLst>
        </pc:graphicFrameChg>
        <pc:picChg chg="add mod">
          <ac:chgData name="Bullinger, Marvin" userId="5b54ce5a-dc89-476f-af33-5abd75d5b1e8" providerId="ADAL" clId="{40A25FFA-8C31-44AB-96A2-0003BFD9D07A}" dt="2025-07-03T14:44:09.348" v="9" actId="1076"/>
          <ac:picMkLst>
            <pc:docMk/>
            <pc:sldMk cId="1520689549" sldId="676"/>
            <ac:picMk id="4" creationId="{9B0CC58F-798A-E276-D222-5415C67F88F3}"/>
          </ac:picMkLst>
        </pc:picChg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775585486" sldId="677"/>
        </pc:sldMkLst>
      </pc:sldChg>
      <pc:sldChg chg="addSp delSp modSp add del mod">
        <pc:chgData name="Bullinger, Marvin" userId="5b54ce5a-dc89-476f-af33-5abd75d5b1e8" providerId="ADAL" clId="{40A25FFA-8C31-44AB-96A2-0003BFD9D07A}" dt="2025-07-03T14:44:52.360" v="14" actId="47"/>
        <pc:sldMkLst>
          <pc:docMk/>
          <pc:sldMk cId="3106000447" sldId="678"/>
        </pc:sldMkLst>
        <pc:graphicFrameChg chg="del">
          <ac:chgData name="Bullinger, Marvin" userId="5b54ce5a-dc89-476f-af33-5abd75d5b1e8" providerId="ADAL" clId="{40A25FFA-8C31-44AB-96A2-0003BFD9D07A}" dt="2025-07-03T14:43:51.319" v="4" actId="478"/>
          <ac:graphicFrameMkLst>
            <pc:docMk/>
            <pc:sldMk cId="3106000447" sldId="678"/>
            <ac:graphicFrameMk id="4" creationId="{DD1AC155-3698-ABDD-4C46-B7C9369414A0}"/>
          </ac:graphicFrameMkLst>
        </pc:graphicFrameChg>
        <pc:picChg chg="add mod">
          <ac:chgData name="Bullinger, Marvin" userId="5b54ce5a-dc89-476f-af33-5abd75d5b1e8" providerId="ADAL" clId="{40A25FFA-8C31-44AB-96A2-0003BFD9D07A}" dt="2025-07-03T14:43:53.869" v="6" actId="1076"/>
          <ac:picMkLst>
            <pc:docMk/>
            <pc:sldMk cId="3106000447" sldId="678"/>
            <ac:picMk id="8" creationId="{C618BCB5-022A-6C01-01EF-0A68AFBC0868}"/>
          </ac:picMkLst>
        </pc:picChg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916272374" sldId="679"/>
        </pc:sldMkLst>
      </pc:sldChg>
      <pc:sldChg chg="addSp delSp modSp add del mod">
        <pc:chgData name="Bullinger, Marvin" userId="5b54ce5a-dc89-476f-af33-5abd75d5b1e8" providerId="ADAL" clId="{40A25FFA-8C31-44AB-96A2-0003BFD9D07A}" dt="2025-07-03T14:44:52.360" v="14" actId="47"/>
        <pc:sldMkLst>
          <pc:docMk/>
          <pc:sldMk cId="3885160775" sldId="680"/>
        </pc:sldMkLst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10" creationId="{D4905E52-C0E5-4EA3-8AC1-C6751FE3D2E7}"/>
          </ac:spMkLst>
        </pc:spChg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11" creationId="{0268A752-4C64-4731-B6A0-F72222C4D65B}"/>
          </ac:spMkLst>
        </pc:spChg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12" creationId="{BC04E68C-E1F4-4FFA-BB20-F519F8E231FE}"/>
          </ac:spMkLst>
        </pc:spChg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13" creationId="{18A94016-0DFA-40FD-BFCF-715B9820D6E6}"/>
          </ac:spMkLst>
        </pc:spChg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25" creationId="{D5F60A77-D150-490C-964A-C5B8C2BA07DF}"/>
          </ac:spMkLst>
        </pc:spChg>
        <pc:spChg chg="del">
          <ac:chgData name="Bullinger, Marvin" userId="5b54ce5a-dc89-476f-af33-5abd75d5b1e8" providerId="ADAL" clId="{40A25FFA-8C31-44AB-96A2-0003BFD9D07A}" dt="2025-07-03T14:43:24.647" v="0" actId="478"/>
          <ac:spMkLst>
            <pc:docMk/>
            <pc:sldMk cId="3885160775" sldId="680"/>
            <ac:spMk id="28" creationId="{7B7D18CD-D292-4709-97BE-6983C96E6C8C}"/>
          </ac:spMkLst>
        </pc:spChg>
        <pc:graphicFrameChg chg="del">
          <ac:chgData name="Bullinger, Marvin" userId="5b54ce5a-dc89-476f-af33-5abd75d5b1e8" providerId="ADAL" clId="{40A25FFA-8C31-44AB-96A2-0003BFD9D07A}" dt="2025-07-03T14:43:24.647" v="0" actId="478"/>
          <ac:graphicFrameMkLst>
            <pc:docMk/>
            <pc:sldMk cId="3885160775" sldId="680"/>
            <ac:graphicFrameMk id="23" creationId="{9513820D-476D-AAA4-8B4E-068C618CF61F}"/>
          </ac:graphicFrameMkLst>
        </pc:graphicFrameChg>
        <pc:picChg chg="add mod">
          <ac:chgData name="Bullinger, Marvin" userId="5b54ce5a-dc89-476f-af33-5abd75d5b1e8" providerId="ADAL" clId="{40A25FFA-8C31-44AB-96A2-0003BFD9D07A}" dt="2025-07-03T14:43:30.356" v="3" actId="1076"/>
          <ac:picMkLst>
            <pc:docMk/>
            <pc:sldMk cId="3885160775" sldId="680"/>
            <ac:picMk id="7" creationId="{8F5737A1-BD07-B5B0-C935-18C17A3A8B59}"/>
          </ac:picMkLst>
        </pc:picChg>
        <pc:cxnChg chg="del">
          <ac:chgData name="Bullinger, Marvin" userId="5b54ce5a-dc89-476f-af33-5abd75d5b1e8" providerId="ADAL" clId="{40A25FFA-8C31-44AB-96A2-0003BFD9D07A}" dt="2025-07-03T14:43:24.647" v="0" actId="478"/>
          <ac:cxnSpMkLst>
            <pc:docMk/>
            <pc:sldMk cId="3885160775" sldId="680"/>
            <ac:cxnSpMk id="15" creationId="{613728BC-F39D-4DDE-87C5-15124EA9A7D6}"/>
          </ac:cxnSpMkLst>
        </pc:cxnChg>
        <pc:cxnChg chg="del">
          <ac:chgData name="Bullinger, Marvin" userId="5b54ce5a-dc89-476f-af33-5abd75d5b1e8" providerId="ADAL" clId="{40A25FFA-8C31-44AB-96A2-0003BFD9D07A}" dt="2025-07-03T14:43:24.647" v="0" actId="478"/>
          <ac:cxnSpMkLst>
            <pc:docMk/>
            <pc:sldMk cId="3885160775" sldId="680"/>
            <ac:cxnSpMk id="19" creationId="{3FC01E45-2616-4838-AA74-15B1C2EA7181}"/>
          </ac:cxnSpMkLst>
        </pc:cxnChg>
        <pc:cxnChg chg="del">
          <ac:chgData name="Bullinger, Marvin" userId="5b54ce5a-dc89-476f-af33-5abd75d5b1e8" providerId="ADAL" clId="{40A25FFA-8C31-44AB-96A2-0003BFD9D07A}" dt="2025-07-03T14:43:24.647" v="0" actId="478"/>
          <ac:cxnSpMkLst>
            <pc:docMk/>
            <pc:sldMk cId="3885160775" sldId="680"/>
            <ac:cxnSpMk id="29" creationId="{0613FD5E-8788-4500-A5C0-90D1F76B1667}"/>
          </ac:cxnSpMkLst>
        </pc:cxnChg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2165355636" sldId="681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60939154" sldId="682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735220174" sldId="684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591261179" sldId="685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1266525283" sldId="686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158016746" sldId="687"/>
        </pc:sldMkLst>
      </pc:sldChg>
      <pc:sldChg chg="add del">
        <pc:chgData name="Bullinger, Marvin" userId="5b54ce5a-dc89-476f-af33-5abd75d5b1e8" providerId="ADAL" clId="{40A25FFA-8C31-44AB-96A2-0003BFD9D07A}" dt="2025-07-03T14:44:52.360" v="14" actId="47"/>
        <pc:sldMkLst>
          <pc:docMk/>
          <pc:sldMk cId="310928573" sldId="688"/>
        </pc:sldMkLst>
      </pc:sldChg>
      <pc:sldChg chg="add del">
        <pc:chgData name="Bullinger, Marvin" userId="5b54ce5a-dc89-476f-af33-5abd75d5b1e8" providerId="ADAL" clId="{40A25FFA-8C31-44AB-96A2-0003BFD9D07A}" dt="2025-07-03T14:44:34.902" v="13" actId="47"/>
        <pc:sldMkLst>
          <pc:docMk/>
          <pc:sldMk cId="3493767339" sldId="723"/>
        </pc:sldMkLst>
      </pc:sldChg>
      <pc:sldChg chg="delSp mod delAnim">
        <pc:chgData name="Bullinger, Marvin" userId="5b54ce5a-dc89-476f-af33-5abd75d5b1e8" providerId="ADAL" clId="{40A25FFA-8C31-44AB-96A2-0003BFD9D07A}" dt="2025-07-03T14:45:21.304" v="17" actId="478"/>
        <pc:sldMkLst>
          <pc:docMk/>
          <pc:sldMk cId="1002509375" sldId="733"/>
        </pc:sldMkLst>
        <pc:picChg chg="del">
          <ac:chgData name="Bullinger, Marvin" userId="5b54ce5a-dc89-476f-af33-5abd75d5b1e8" providerId="ADAL" clId="{40A25FFA-8C31-44AB-96A2-0003BFD9D07A}" dt="2025-07-03T14:45:21.304" v="17" actId="478"/>
          <ac:picMkLst>
            <pc:docMk/>
            <pc:sldMk cId="1002509375" sldId="733"/>
            <ac:picMk id="9" creationId="{A46AFF21-92BF-9F13-F617-548BA6F6EDF4}"/>
          </ac:picMkLst>
        </pc:picChg>
      </pc:sldChg>
      <pc:sldChg chg="delSp mod delAnim modAnim">
        <pc:chgData name="Bullinger, Marvin" userId="5b54ce5a-dc89-476f-af33-5abd75d5b1e8" providerId="ADAL" clId="{40A25FFA-8C31-44AB-96A2-0003BFD9D07A}" dt="2025-07-03T14:45:02.932" v="16" actId="478"/>
        <pc:sldMkLst>
          <pc:docMk/>
          <pc:sldMk cId="937114488" sldId="734"/>
        </pc:sldMkLst>
        <pc:picChg chg="del">
          <ac:chgData name="Bullinger, Marvin" userId="5b54ce5a-dc89-476f-af33-5abd75d5b1e8" providerId="ADAL" clId="{40A25FFA-8C31-44AB-96A2-0003BFD9D07A}" dt="2025-07-03T14:45:02.932" v="16" actId="478"/>
          <ac:picMkLst>
            <pc:docMk/>
            <pc:sldMk cId="937114488" sldId="734"/>
            <ac:picMk id="2" creationId="{6F7FE75C-7FD3-E12E-9688-E77FA7F12671}"/>
          </ac:picMkLst>
        </pc:picChg>
        <pc:picChg chg="del">
          <ac:chgData name="Bullinger, Marvin" userId="5b54ce5a-dc89-476f-af33-5abd75d5b1e8" providerId="ADAL" clId="{40A25FFA-8C31-44AB-96A2-0003BFD9D07A}" dt="2025-07-03T14:45:01.169" v="15" actId="478"/>
          <ac:picMkLst>
            <pc:docMk/>
            <pc:sldMk cId="937114488" sldId="734"/>
            <ac:picMk id="1065" creationId="{9BA32F3E-A663-967D-7625-4A0A002B33FB}"/>
          </ac:picMkLst>
        </pc:picChg>
      </pc:sldChg>
    </pc:docChg>
  </pc:docChgLst>
  <pc:docChgLst>
    <pc:chgData name="reilec.tmb22" userId="S::reilec.tmb22@student.dhbw-heidenheim.de::0b7e6988-e521-4a1e-900b-efd6b80549e1" providerId="AD" clId="Web-{47697E8B-06FD-7C3F-CB4F-3BC359873C4C}"/>
    <pc:docChg chg="addSld delSld modSld modSection">
      <pc:chgData name="reilec.tmb22" userId="S::reilec.tmb22@student.dhbw-heidenheim.de::0b7e6988-e521-4a1e-900b-efd6b80549e1" providerId="AD" clId="Web-{47697E8B-06FD-7C3F-CB4F-3BC359873C4C}" dt="2025-04-22T12:02:27.562" v="66" actId="20577"/>
      <pc:docMkLst>
        <pc:docMk/>
      </pc:docMkLst>
      <pc:sldChg chg="modSp">
        <pc:chgData name="reilec.tmb22" userId="S::reilec.tmb22@student.dhbw-heidenheim.de::0b7e6988-e521-4a1e-900b-efd6b80549e1" providerId="AD" clId="Web-{47697E8B-06FD-7C3F-CB4F-3BC359873C4C}" dt="2025-04-22T10:37:10.569" v="0" actId="20577"/>
        <pc:sldMkLst>
          <pc:docMk/>
          <pc:sldMk cId="3237586983" sldId="647"/>
        </pc:sldMkLst>
      </pc:sldChg>
      <pc:sldChg chg="addSp delSp modSp del">
        <pc:chgData name="reilec.tmb22" userId="S::reilec.tmb22@student.dhbw-heidenheim.de::0b7e6988-e521-4a1e-900b-efd6b80549e1" providerId="AD" clId="Web-{47697E8B-06FD-7C3F-CB4F-3BC359873C4C}" dt="2025-04-22T11:26:48.134" v="9"/>
        <pc:sldMkLst>
          <pc:docMk/>
          <pc:sldMk cId="1275637943" sldId="666"/>
        </pc:sldMkLst>
      </pc:sldChg>
      <pc:sldChg chg="addSp delSp modSp">
        <pc:chgData name="reilec.tmb22" userId="S::reilec.tmb22@student.dhbw-heidenheim.de::0b7e6988-e521-4a1e-900b-efd6b80549e1" providerId="AD" clId="Web-{47697E8B-06FD-7C3F-CB4F-3BC359873C4C}" dt="2025-04-22T11:33:51.463" v="65" actId="1076"/>
        <pc:sldMkLst>
          <pc:docMk/>
          <pc:sldMk cId="861624178" sldId="667"/>
        </pc:sldMkLst>
      </pc:sldChg>
      <pc:sldChg chg="modSp">
        <pc:chgData name="reilec.tmb22" userId="S::reilec.tmb22@student.dhbw-heidenheim.de::0b7e6988-e521-4a1e-900b-efd6b80549e1" providerId="AD" clId="Web-{47697E8B-06FD-7C3F-CB4F-3BC359873C4C}" dt="2025-04-22T11:27:02.228" v="21" actId="20577"/>
        <pc:sldMkLst>
          <pc:docMk/>
          <pc:sldMk cId="544195729" sldId="670"/>
        </pc:sldMkLst>
      </pc:sldChg>
      <pc:sldChg chg="modSp add replId">
        <pc:chgData name="reilec.tmb22" userId="S::reilec.tmb22@student.dhbw-heidenheim.de::0b7e6988-e521-4a1e-900b-efd6b80549e1" providerId="AD" clId="Web-{47697E8B-06FD-7C3F-CB4F-3BC359873C4C}" dt="2025-04-22T12:02:27.562" v="66" actId="20577"/>
        <pc:sldMkLst>
          <pc:docMk/>
          <pc:sldMk cId="775585486" sldId="677"/>
        </pc:sldMkLst>
      </pc:sldChg>
    </pc:docChg>
  </pc:docChgLst>
  <pc:docChgLst>
    <pc:chgData name="reilec.tmb22" userId="S::reilec.tmb22@student.dhbw-heidenheim.de::0b7e6988-e521-4a1e-900b-efd6b80549e1" providerId="AD" clId="Web-{5A12A4AB-1DD4-0998-5D5D-2D2411A60F7C}"/>
    <pc:docChg chg="delSld modSld modSection">
      <pc:chgData name="reilec.tmb22" userId="S::reilec.tmb22@student.dhbw-heidenheim.de::0b7e6988-e521-4a1e-900b-efd6b80549e1" providerId="AD" clId="Web-{5A12A4AB-1DD4-0998-5D5D-2D2411A60F7C}" dt="2025-04-22T13:15:30.895" v="303" actId="20577"/>
      <pc:docMkLst>
        <pc:docMk/>
      </pc:docMkLst>
      <pc:sldChg chg="addSp modSp">
        <pc:chgData name="reilec.tmb22" userId="S::reilec.tmb22@student.dhbw-heidenheim.de::0b7e6988-e521-4a1e-900b-efd6b80549e1" providerId="AD" clId="Web-{5A12A4AB-1DD4-0998-5D5D-2D2411A60F7C}" dt="2025-04-22T13:15:30.895" v="303" actId="20577"/>
        <pc:sldMkLst>
          <pc:docMk/>
          <pc:sldMk cId="3664439336" sldId="262"/>
        </pc:sldMkLst>
      </pc:sldChg>
      <pc:sldChg chg="modSp">
        <pc:chgData name="reilec.tmb22" userId="S::reilec.tmb22@student.dhbw-heidenheim.de::0b7e6988-e521-4a1e-900b-efd6b80549e1" providerId="AD" clId="Web-{5A12A4AB-1DD4-0998-5D5D-2D2411A60F7C}" dt="2025-04-22T13:04:29.701" v="283" actId="1076"/>
        <pc:sldMkLst>
          <pc:docMk/>
          <pc:sldMk cId="1314778286" sldId="668"/>
        </pc:sldMkLst>
      </pc:sldChg>
      <pc:sldChg chg="del">
        <pc:chgData name="reilec.tmb22" userId="S::reilec.tmb22@student.dhbw-heidenheim.de::0b7e6988-e521-4a1e-900b-efd6b80549e1" providerId="AD" clId="Web-{5A12A4AB-1DD4-0998-5D5D-2D2411A60F7C}" dt="2025-04-22T13:05:20.843" v="284"/>
        <pc:sldMkLst>
          <pc:docMk/>
          <pc:sldMk cId="544195729" sldId="670"/>
        </pc:sldMkLst>
      </pc:sldChg>
    </pc:docChg>
  </pc:docChgLst>
  <pc:docChgLst>
    <pc:chgData name="seiboldf.tmb22" userId="S::seiboldf.tmb22@student.dhbw-heidenheim.de::df3edf2f-3342-4456-80d3-fdc875e3af8c" providerId="AD" clId="Web-{23B2E8C6-A73A-CD4A-6B53-33CFD13FD571}"/>
    <pc:docChg chg="sldOrd">
      <pc:chgData name="seiboldf.tmb22" userId="S::seiboldf.tmb22@student.dhbw-heidenheim.de::df3edf2f-3342-4456-80d3-fdc875e3af8c" providerId="AD" clId="Web-{23B2E8C6-A73A-CD4A-6B53-33CFD13FD571}" dt="2025-04-01T10:23:23.594" v="0"/>
      <pc:docMkLst>
        <pc:docMk/>
      </pc:docMkLst>
      <pc:sldChg chg="ord">
        <pc:chgData name="seiboldf.tmb22" userId="S::seiboldf.tmb22@student.dhbw-heidenheim.de::df3edf2f-3342-4456-80d3-fdc875e3af8c" providerId="AD" clId="Web-{23B2E8C6-A73A-CD4A-6B53-33CFD13FD571}" dt="2025-04-01T10:23:23.594" v="0"/>
        <pc:sldMkLst>
          <pc:docMk/>
          <pc:sldMk cId="1339647628" sldId="586"/>
        </pc:sldMkLst>
      </pc:sldChg>
    </pc:docChg>
  </pc:docChgLst>
  <pc:docChgLst>
    <pc:chgData name="Franz Seibold" userId="df3edf2f-3342-4456-80d3-fdc875e3af8c" providerId="ADAL" clId="{328B2058-4107-4D66-BED0-708CC2676BDF}"/>
    <pc:docChg chg="undo custSel addSld modSld">
      <pc:chgData name="Franz Seibold" userId="df3edf2f-3342-4456-80d3-fdc875e3af8c" providerId="ADAL" clId="{328B2058-4107-4D66-BED0-708CC2676BDF}" dt="2025-04-22T13:42:14.593" v="847" actId="20577"/>
      <pc:docMkLst>
        <pc:docMk/>
      </pc:docMkLst>
      <pc:sldChg chg="modSp">
        <pc:chgData name="Franz Seibold" userId="df3edf2f-3342-4456-80d3-fdc875e3af8c" providerId="ADAL" clId="{328B2058-4107-4D66-BED0-708CC2676BDF}" dt="2025-04-22T11:18:37.714" v="32" actId="11"/>
        <pc:sldMkLst>
          <pc:docMk/>
          <pc:sldMk cId="3388882345" sldId="652"/>
        </pc:sldMkLst>
      </pc:sldChg>
      <pc:sldChg chg="addSp delSp modSp">
        <pc:chgData name="Franz Seibold" userId="df3edf2f-3342-4456-80d3-fdc875e3af8c" providerId="ADAL" clId="{328B2058-4107-4D66-BED0-708CC2676BDF}" dt="2025-04-22T13:13:56.965" v="517" actId="478"/>
        <pc:sldMkLst>
          <pc:docMk/>
          <pc:sldMk cId="46571281" sldId="654"/>
        </pc:sldMkLst>
      </pc:sldChg>
      <pc:sldChg chg="addSp delSp modSp modAnim">
        <pc:chgData name="Franz Seibold" userId="df3edf2f-3342-4456-80d3-fdc875e3af8c" providerId="ADAL" clId="{328B2058-4107-4D66-BED0-708CC2676BDF}" dt="2025-04-22T13:10:36.919" v="515"/>
        <pc:sldMkLst>
          <pc:docMk/>
          <pc:sldMk cId="1194765832" sldId="660"/>
        </pc:sldMkLst>
      </pc:sldChg>
      <pc:sldChg chg="modSp">
        <pc:chgData name="Franz Seibold" userId="df3edf2f-3342-4456-80d3-fdc875e3af8c" providerId="ADAL" clId="{328B2058-4107-4D66-BED0-708CC2676BDF}" dt="2025-04-22T13:42:14.593" v="847" actId="20577"/>
        <pc:sldMkLst>
          <pc:docMk/>
          <pc:sldMk cId="3141788730" sldId="665"/>
        </pc:sldMkLst>
      </pc:sldChg>
      <pc:sldChg chg="addSp delSp">
        <pc:chgData name="Franz Seibold" userId="df3edf2f-3342-4456-80d3-fdc875e3af8c" providerId="ADAL" clId="{328B2058-4107-4D66-BED0-708CC2676BDF}" dt="2025-04-22T12:52:03.841" v="198" actId="478"/>
        <pc:sldMkLst>
          <pc:docMk/>
          <pc:sldMk cId="1591261179" sldId="685"/>
        </pc:sldMkLst>
      </pc:sldChg>
      <pc:sldChg chg="addSp delSp modSp add delAnim modAnim">
        <pc:chgData name="Franz Seibold" userId="df3edf2f-3342-4456-80d3-fdc875e3af8c" providerId="ADAL" clId="{328B2058-4107-4D66-BED0-708CC2676BDF}" dt="2025-04-22T13:41:35.387" v="803" actId="478"/>
        <pc:sldMkLst>
          <pc:docMk/>
          <pc:sldMk cId="3158016746" sldId="687"/>
        </pc:sldMkLst>
      </pc:sldChg>
    </pc:docChg>
  </pc:docChgLst>
  <pc:docChgLst>
    <pc:chgData name="staehlef.tmb22" userId="S::staehlef.tmb22@student.dhbw-heidenheim.de::737d0583-0f84-4afa-9d32-9dff97d0f705" providerId="AD" clId="Web-{72DE4E05-114C-6A62-496D-284A35F33BCF}"/>
    <pc:docChg chg="addSld delSld modSld modSection">
      <pc:chgData name="staehlef.tmb22" userId="S::staehlef.tmb22@student.dhbw-heidenheim.de::737d0583-0f84-4afa-9d32-9dff97d0f705" providerId="AD" clId="Web-{72DE4E05-114C-6A62-496D-284A35F33BCF}" dt="2025-06-09T17:31:52.374" v="132"/>
      <pc:docMkLst>
        <pc:docMk/>
      </pc:docMkLst>
      <pc:sldChg chg="addSp modSp new del">
        <pc:chgData name="staehlef.tmb22" userId="S::staehlef.tmb22@student.dhbw-heidenheim.de::737d0583-0f84-4afa-9d32-9dff97d0f705" providerId="AD" clId="Web-{72DE4E05-114C-6A62-496D-284A35F33BCF}" dt="2025-06-09T16:58:12.772" v="55"/>
        <pc:sldMkLst>
          <pc:docMk/>
          <pc:sldMk cId="946126632" sldId="724"/>
        </pc:sldMkLst>
      </pc:sldChg>
      <pc:sldChg chg="addSp delSp modSp new">
        <pc:chgData name="staehlef.tmb22" userId="S::staehlef.tmb22@student.dhbw-heidenheim.de::737d0583-0f84-4afa-9d32-9dff97d0f705" providerId="AD" clId="Web-{72DE4E05-114C-6A62-496D-284A35F33BCF}" dt="2025-06-09T17:31:52.374" v="132"/>
        <pc:sldMkLst>
          <pc:docMk/>
          <pc:sldMk cId="974613365" sldId="728"/>
        </pc:sldMkLst>
        <pc:spChg chg="mod">
          <ac:chgData name="staehlef.tmb22" userId="S::staehlef.tmb22@student.dhbw-heidenheim.de::737d0583-0f84-4afa-9d32-9dff97d0f705" providerId="AD" clId="Web-{72DE4E05-114C-6A62-496D-284A35F33BCF}" dt="2025-06-09T16:59:46.665" v="57" actId="20577"/>
          <ac:spMkLst>
            <pc:docMk/>
            <pc:sldMk cId="974613365" sldId="728"/>
            <ac:spMk id="2" creationId="{9041E1B5-8DDE-D95A-D693-A58AD587C991}"/>
          </ac:spMkLst>
        </pc:spChg>
        <pc:spChg chg="mod">
          <ac:chgData name="staehlef.tmb22" userId="S::staehlef.tmb22@student.dhbw-heidenheim.de::737d0583-0f84-4afa-9d32-9dff97d0f705" providerId="AD" clId="Web-{72DE4E05-114C-6A62-496D-284A35F33BCF}" dt="2025-06-09T17:00:06.619" v="75" actId="20577"/>
          <ac:spMkLst>
            <pc:docMk/>
            <pc:sldMk cId="974613365" sldId="728"/>
            <ac:spMk id="3" creationId="{FC64FACB-21EC-2243-B5AB-90C5FDEE1C6C}"/>
          </ac:spMkLst>
        </pc:spChg>
        <pc:spChg chg="add mod">
          <ac:chgData name="staehlef.tmb22" userId="S::staehlef.tmb22@student.dhbw-heidenheim.de::737d0583-0f84-4afa-9d32-9dff97d0f705" providerId="AD" clId="Web-{72DE4E05-114C-6A62-496D-284A35F33BCF}" dt="2025-06-09T17:08:26.292" v="103" actId="1076"/>
          <ac:spMkLst>
            <pc:docMk/>
            <pc:sldMk cId="974613365" sldId="728"/>
            <ac:spMk id="11" creationId="{47CAC802-A666-FE47-7B4C-50B0CEEAADD2}"/>
          </ac:spMkLst>
        </pc:spChg>
        <pc:spChg chg="add mod">
          <ac:chgData name="staehlef.tmb22" userId="S::staehlef.tmb22@student.dhbw-heidenheim.de::737d0583-0f84-4afa-9d32-9dff97d0f705" providerId="AD" clId="Web-{72DE4E05-114C-6A62-496D-284A35F33BCF}" dt="2025-06-09T17:10:37.395" v="119" actId="1076"/>
          <ac:spMkLst>
            <pc:docMk/>
            <pc:sldMk cId="974613365" sldId="728"/>
            <ac:spMk id="13" creationId="{41A8D84F-4BB9-94B9-859F-14F3109A81F2}"/>
          </ac:spMkLst>
        </pc:spChg>
        <pc:spChg chg="add mod">
          <ac:chgData name="staehlef.tmb22" userId="S::staehlef.tmb22@student.dhbw-heidenheim.de::737d0583-0f84-4afa-9d32-9dff97d0f705" providerId="AD" clId="Web-{72DE4E05-114C-6A62-496D-284A35F33BCF}" dt="2025-06-09T17:10:51.880" v="122" actId="1076"/>
          <ac:spMkLst>
            <pc:docMk/>
            <pc:sldMk cId="974613365" sldId="728"/>
            <ac:spMk id="14" creationId="{64181BC0-14B3-2C27-39F8-239C80A24CC9}"/>
          </ac:spMkLst>
        </pc:spChg>
        <pc:cxnChg chg="add mod">
          <ac:chgData name="staehlef.tmb22" userId="S::staehlef.tmb22@student.dhbw-heidenheim.de::737d0583-0f84-4afa-9d32-9dff97d0f705" providerId="AD" clId="Web-{72DE4E05-114C-6A62-496D-284A35F33BCF}" dt="2025-06-09T17:12:09.632" v="126"/>
          <ac:cxnSpMkLst>
            <pc:docMk/>
            <pc:sldMk cId="974613365" sldId="728"/>
            <ac:cxnSpMk id="15" creationId="{62635084-B028-B537-CB37-3C7333C10420}"/>
          </ac:cxnSpMkLst>
        </pc:cxnChg>
      </pc:sldChg>
    </pc:docChg>
  </pc:docChgLst>
  <pc:docChgLst>
    <pc:chgData name="bullingerm.tmt22" userId="9ce3b8b2-035f-4175-b301-998b03a50e38" providerId="ADAL" clId="{5CB309B6-9A74-4EA4-964D-F64C203758E1}"/>
    <pc:docChg chg="addSld modSld">
      <pc:chgData name="bullingerm.tmt22" userId="9ce3b8b2-035f-4175-b301-998b03a50e38" providerId="ADAL" clId="{5CB309B6-9A74-4EA4-964D-F64C203758E1}" dt="2025-04-01T12:01:40.887" v="10"/>
      <pc:docMkLst>
        <pc:docMk/>
      </pc:docMkLst>
      <pc:sldChg chg="addSp modSp modTransition">
        <pc:chgData name="bullingerm.tmt22" userId="9ce3b8b2-035f-4175-b301-998b03a50e38" providerId="ADAL" clId="{5CB309B6-9A74-4EA4-964D-F64C203758E1}" dt="2025-04-01T12:01:35.688" v="8"/>
        <pc:sldMkLst>
          <pc:docMk/>
          <pc:sldMk cId="1986987989" sldId="624"/>
        </pc:sldMkLst>
      </pc:sldChg>
      <pc:sldChg chg="modSp add modTransition">
        <pc:chgData name="bullingerm.tmt22" userId="9ce3b8b2-035f-4175-b301-998b03a50e38" providerId="ADAL" clId="{5CB309B6-9A74-4EA4-964D-F64C203758E1}" dt="2025-04-01T12:01:38.711" v="9"/>
        <pc:sldMkLst>
          <pc:docMk/>
          <pc:sldMk cId="259873060" sldId="637"/>
        </pc:sldMkLst>
      </pc:sldChg>
      <pc:sldChg chg="modSp add modTransition">
        <pc:chgData name="bullingerm.tmt22" userId="9ce3b8b2-035f-4175-b301-998b03a50e38" providerId="ADAL" clId="{5CB309B6-9A74-4EA4-964D-F64C203758E1}" dt="2025-04-01T12:01:40.887" v="10"/>
        <pc:sldMkLst>
          <pc:docMk/>
          <pc:sldMk cId="612847529" sldId="638"/>
        </pc:sldMkLst>
      </pc:sldChg>
    </pc:docChg>
  </pc:docChgLst>
  <pc:docChgLst>
    <pc:chgData name="Annika Häberle" userId="e23f6701-6707-4a4b-a757-e56ad2eaf1e8" providerId="ADAL" clId="{DA55367C-76A9-4FB5-9C1E-037C336E9A2C}"/>
    <pc:docChg chg="undo custSel addSld delSld modSld modSection">
      <pc:chgData name="Annika Häberle" userId="e23f6701-6707-4a4b-a757-e56ad2eaf1e8" providerId="ADAL" clId="{DA55367C-76A9-4FB5-9C1E-037C336E9A2C}" dt="2025-04-22T13:51:44.730" v="2566" actId="12"/>
      <pc:docMkLst>
        <pc:docMk/>
      </pc:docMkLst>
      <pc:sldChg chg="modSp">
        <pc:chgData name="Annika Häberle" userId="e23f6701-6707-4a4b-a757-e56ad2eaf1e8" providerId="ADAL" clId="{DA55367C-76A9-4FB5-9C1E-037C336E9A2C}" dt="2025-04-22T12:59:01.508" v="2195" actId="6549"/>
        <pc:sldMkLst>
          <pc:docMk/>
          <pc:sldMk cId="1339647628" sldId="586"/>
        </pc:sldMkLst>
      </pc:sldChg>
      <pc:sldChg chg="del">
        <pc:chgData name="Annika Häberle" userId="e23f6701-6707-4a4b-a757-e56ad2eaf1e8" providerId="ADAL" clId="{DA55367C-76A9-4FB5-9C1E-037C336E9A2C}" dt="2025-04-22T12:17:39.506" v="1901" actId="2696"/>
        <pc:sldMkLst>
          <pc:docMk/>
          <pc:sldMk cId="1986987989" sldId="624"/>
        </pc:sldMkLst>
      </pc:sldChg>
      <pc:sldChg chg="del">
        <pc:chgData name="Annika Häberle" userId="e23f6701-6707-4a4b-a757-e56ad2eaf1e8" providerId="ADAL" clId="{DA55367C-76A9-4FB5-9C1E-037C336E9A2C}" dt="2025-04-22T12:17:48.176" v="1904" actId="2696"/>
        <pc:sldMkLst>
          <pc:docMk/>
          <pc:sldMk cId="2756117336" sldId="630"/>
        </pc:sldMkLst>
      </pc:sldChg>
      <pc:sldChg chg="del">
        <pc:chgData name="Annika Häberle" userId="e23f6701-6707-4a4b-a757-e56ad2eaf1e8" providerId="ADAL" clId="{DA55367C-76A9-4FB5-9C1E-037C336E9A2C}" dt="2025-04-22T12:17:45.639" v="1903" actId="2696"/>
        <pc:sldMkLst>
          <pc:docMk/>
          <pc:sldMk cId="3087557768" sldId="632"/>
        </pc:sldMkLst>
      </pc:sldChg>
      <pc:sldChg chg="del">
        <pc:chgData name="Annika Häberle" userId="e23f6701-6707-4a4b-a757-e56ad2eaf1e8" providerId="ADAL" clId="{DA55367C-76A9-4FB5-9C1E-037C336E9A2C}" dt="2025-04-22T12:18:08.254" v="1908" actId="2696"/>
        <pc:sldMkLst>
          <pc:docMk/>
          <pc:sldMk cId="3905572149" sldId="633"/>
        </pc:sldMkLst>
      </pc:sldChg>
      <pc:sldChg chg="del">
        <pc:chgData name="Annika Häberle" userId="e23f6701-6707-4a4b-a757-e56ad2eaf1e8" providerId="ADAL" clId="{DA55367C-76A9-4FB5-9C1E-037C336E9A2C}" dt="2025-04-22T12:18:04.334" v="1907" actId="2696"/>
        <pc:sldMkLst>
          <pc:docMk/>
          <pc:sldMk cId="3525816418" sldId="634"/>
        </pc:sldMkLst>
      </pc:sldChg>
      <pc:sldChg chg="del">
        <pc:chgData name="Annika Häberle" userId="e23f6701-6707-4a4b-a757-e56ad2eaf1e8" providerId="ADAL" clId="{DA55367C-76A9-4FB5-9C1E-037C336E9A2C}" dt="2025-04-22T12:17:52.640" v="1905" actId="2696"/>
        <pc:sldMkLst>
          <pc:docMk/>
          <pc:sldMk cId="568729345" sldId="635"/>
        </pc:sldMkLst>
      </pc:sldChg>
      <pc:sldChg chg="del">
        <pc:chgData name="Annika Häberle" userId="e23f6701-6707-4a4b-a757-e56ad2eaf1e8" providerId="ADAL" clId="{DA55367C-76A9-4FB5-9C1E-037C336E9A2C}" dt="2025-04-22T12:17:58.315" v="1906" actId="2696"/>
        <pc:sldMkLst>
          <pc:docMk/>
          <pc:sldMk cId="1433932889" sldId="636"/>
        </pc:sldMkLst>
      </pc:sldChg>
      <pc:sldChg chg="del">
        <pc:chgData name="Annika Häberle" userId="e23f6701-6707-4a4b-a757-e56ad2eaf1e8" providerId="ADAL" clId="{DA55367C-76A9-4FB5-9C1E-037C336E9A2C}" dt="2025-04-22T12:17:36.310" v="1900" actId="2696"/>
        <pc:sldMkLst>
          <pc:docMk/>
          <pc:sldMk cId="259873060" sldId="637"/>
        </pc:sldMkLst>
      </pc:sldChg>
      <pc:sldChg chg="del">
        <pc:chgData name="Annika Häberle" userId="e23f6701-6707-4a4b-a757-e56ad2eaf1e8" providerId="ADAL" clId="{DA55367C-76A9-4FB5-9C1E-037C336E9A2C}" dt="2025-04-22T12:17:42.920" v="1902" actId="2696"/>
        <pc:sldMkLst>
          <pc:docMk/>
          <pc:sldMk cId="612847529" sldId="638"/>
        </pc:sldMkLst>
      </pc:sldChg>
      <pc:sldChg chg="modNotesTx">
        <pc:chgData name="Annika Häberle" userId="e23f6701-6707-4a4b-a757-e56ad2eaf1e8" providerId="ADAL" clId="{DA55367C-76A9-4FB5-9C1E-037C336E9A2C}" dt="2025-04-22T12:47:37.390" v="2189" actId="5793"/>
        <pc:sldMkLst>
          <pc:docMk/>
          <pc:sldMk cId="3837770887" sldId="649"/>
        </pc:sldMkLst>
      </pc:sldChg>
      <pc:sldChg chg="addSp delSp modSp delAnim modAnim modNotesTx">
        <pc:chgData name="Annika Häberle" userId="e23f6701-6707-4a4b-a757-e56ad2eaf1e8" providerId="ADAL" clId="{DA55367C-76A9-4FB5-9C1E-037C336E9A2C}" dt="2025-04-22T13:08:10.917" v="2232" actId="1076"/>
        <pc:sldMkLst>
          <pc:docMk/>
          <pc:sldMk cId="2269644659" sldId="650"/>
        </pc:sldMkLst>
      </pc:sldChg>
      <pc:sldChg chg="addSp delSp modSp modNotesTx">
        <pc:chgData name="Annika Häberle" userId="e23f6701-6707-4a4b-a757-e56ad2eaf1e8" providerId="ADAL" clId="{DA55367C-76A9-4FB5-9C1E-037C336E9A2C}" dt="2025-04-22T13:40:46.937" v="2529" actId="20577"/>
        <pc:sldMkLst>
          <pc:docMk/>
          <pc:sldMk cId="2840064016" sldId="651"/>
        </pc:sldMkLst>
      </pc:sldChg>
      <pc:sldChg chg="modSp">
        <pc:chgData name="Annika Häberle" userId="e23f6701-6707-4a4b-a757-e56ad2eaf1e8" providerId="ADAL" clId="{DA55367C-76A9-4FB5-9C1E-037C336E9A2C}" dt="2025-04-22T13:41:15.847" v="2531" actId="1076"/>
        <pc:sldMkLst>
          <pc:docMk/>
          <pc:sldMk cId="3388882345" sldId="652"/>
        </pc:sldMkLst>
      </pc:sldChg>
      <pc:sldChg chg="del">
        <pc:chgData name="Annika Häberle" userId="e23f6701-6707-4a4b-a757-e56ad2eaf1e8" providerId="ADAL" clId="{DA55367C-76A9-4FB5-9C1E-037C336E9A2C}" dt="2025-04-22T10:38:45.251" v="81" actId="2696"/>
        <pc:sldMkLst>
          <pc:docMk/>
          <pc:sldMk cId="1652655923" sldId="657"/>
        </pc:sldMkLst>
      </pc:sldChg>
      <pc:sldChg chg="modSp">
        <pc:chgData name="Annika Häberle" userId="e23f6701-6707-4a4b-a757-e56ad2eaf1e8" providerId="ADAL" clId="{DA55367C-76A9-4FB5-9C1E-037C336E9A2C}" dt="2025-04-22T13:43:04.578" v="2553" actId="1076"/>
        <pc:sldMkLst>
          <pc:docMk/>
          <pc:sldMk cId="2182309661" sldId="661"/>
        </pc:sldMkLst>
      </pc:sldChg>
      <pc:sldChg chg="modSp modAnim">
        <pc:chgData name="Annika Häberle" userId="e23f6701-6707-4a4b-a757-e56ad2eaf1e8" providerId="ADAL" clId="{DA55367C-76A9-4FB5-9C1E-037C336E9A2C}" dt="2025-04-22T13:44:04.414" v="2561" actId="20577"/>
        <pc:sldMkLst>
          <pc:docMk/>
          <pc:sldMk cId="581652493" sldId="663"/>
        </pc:sldMkLst>
      </pc:sldChg>
      <pc:sldChg chg="modSp">
        <pc:chgData name="Annika Häberle" userId="e23f6701-6707-4a4b-a757-e56ad2eaf1e8" providerId="ADAL" clId="{DA55367C-76A9-4FB5-9C1E-037C336E9A2C}" dt="2025-04-22T13:41:26.440" v="2532" actId="1076"/>
        <pc:sldMkLst>
          <pc:docMk/>
          <pc:sldMk cId="3141788730" sldId="665"/>
        </pc:sldMkLst>
      </pc:sldChg>
      <pc:sldChg chg="addSp delSp modSp add delAnim modAnim">
        <pc:chgData name="Annika Häberle" userId="e23f6701-6707-4a4b-a757-e56ad2eaf1e8" providerId="ADAL" clId="{DA55367C-76A9-4FB5-9C1E-037C336E9A2C}" dt="2025-04-22T10:55:24.813" v="315" actId="20577"/>
        <pc:sldMkLst>
          <pc:docMk/>
          <pc:sldMk cId="3585174266" sldId="666"/>
        </pc:sldMkLst>
      </pc:sldChg>
      <pc:sldChg chg="modSp">
        <pc:chgData name="Annika Häberle" userId="e23f6701-6707-4a4b-a757-e56ad2eaf1e8" providerId="ADAL" clId="{DA55367C-76A9-4FB5-9C1E-037C336E9A2C}" dt="2025-04-22T13:05:01.986" v="2228" actId="1076"/>
        <pc:sldMkLst>
          <pc:docMk/>
          <pc:sldMk cId="861624178" sldId="667"/>
        </pc:sldMkLst>
      </pc:sldChg>
      <pc:sldChg chg="addSp delSp modSp add delAnim modAnim">
        <pc:chgData name="Annika Häberle" userId="e23f6701-6707-4a4b-a757-e56ad2eaf1e8" providerId="ADAL" clId="{DA55367C-76A9-4FB5-9C1E-037C336E9A2C}" dt="2025-04-22T10:50:57.139" v="100"/>
        <pc:sldMkLst>
          <pc:docMk/>
          <pc:sldMk cId="1520689549" sldId="667"/>
        </pc:sldMkLst>
      </pc:sldChg>
      <pc:sldChg chg="modSp">
        <pc:chgData name="Annika Häberle" userId="e23f6701-6707-4a4b-a757-e56ad2eaf1e8" providerId="ADAL" clId="{DA55367C-76A9-4FB5-9C1E-037C336E9A2C}" dt="2025-04-22T13:51:23.842" v="2564" actId="12"/>
        <pc:sldMkLst>
          <pc:docMk/>
          <pc:sldMk cId="1314778286" sldId="668"/>
        </pc:sldMkLst>
      </pc:sldChg>
      <pc:sldChg chg="addSp delSp modSp add modAnim">
        <pc:chgData name="Annika Häberle" userId="e23f6701-6707-4a4b-a757-e56ad2eaf1e8" providerId="ADAL" clId="{DA55367C-76A9-4FB5-9C1E-037C336E9A2C}" dt="2025-04-22T10:58:06.376" v="427" actId="20577"/>
        <pc:sldMkLst>
          <pc:docMk/>
          <pc:sldMk cId="3141084410" sldId="668"/>
        </pc:sldMkLst>
      </pc:sldChg>
      <pc:sldChg chg="modSp">
        <pc:chgData name="Annika Häberle" userId="e23f6701-6707-4a4b-a757-e56ad2eaf1e8" providerId="ADAL" clId="{DA55367C-76A9-4FB5-9C1E-037C336E9A2C}" dt="2025-04-22T13:51:44.730" v="2566" actId="12"/>
        <pc:sldMkLst>
          <pc:docMk/>
          <pc:sldMk cId="1086977521" sldId="669"/>
        </pc:sldMkLst>
      </pc:sldChg>
      <pc:sldChg chg="del">
        <pc:chgData name="Annika Häberle" userId="e23f6701-6707-4a4b-a757-e56ad2eaf1e8" providerId="ADAL" clId="{DA55367C-76A9-4FB5-9C1E-037C336E9A2C}" dt="2025-04-22T11:02:30.596" v="431" actId="2696"/>
        <pc:sldMkLst>
          <pc:docMk/>
          <pc:sldMk cId="543452474" sldId="671"/>
        </pc:sldMkLst>
      </pc:sldChg>
      <pc:sldChg chg="del">
        <pc:chgData name="Annika Häberle" userId="e23f6701-6707-4a4b-a757-e56ad2eaf1e8" providerId="ADAL" clId="{DA55367C-76A9-4FB5-9C1E-037C336E9A2C}" dt="2025-04-22T11:02:26.756" v="430" actId="2696"/>
        <pc:sldMkLst>
          <pc:docMk/>
          <pc:sldMk cId="1248099481" sldId="672"/>
        </pc:sldMkLst>
      </pc:sldChg>
      <pc:sldChg chg="del">
        <pc:chgData name="Annika Häberle" userId="e23f6701-6707-4a4b-a757-e56ad2eaf1e8" providerId="ADAL" clId="{DA55367C-76A9-4FB5-9C1E-037C336E9A2C}" dt="2025-04-22T11:02:23.274" v="429" actId="2696"/>
        <pc:sldMkLst>
          <pc:docMk/>
          <pc:sldMk cId="2762745259" sldId="673"/>
        </pc:sldMkLst>
      </pc:sldChg>
      <pc:sldChg chg="modSp">
        <pc:chgData name="Annika Häberle" userId="e23f6701-6707-4a4b-a757-e56ad2eaf1e8" providerId="ADAL" clId="{DA55367C-76A9-4FB5-9C1E-037C336E9A2C}" dt="2025-04-22T13:17:36.250" v="2234" actId="20577"/>
        <pc:sldMkLst>
          <pc:docMk/>
          <pc:sldMk cId="3141084410" sldId="674"/>
        </pc:sldMkLst>
      </pc:sldChg>
      <pc:sldChg chg="modSp">
        <pc:chgData name="Annika Häberle" userId="e23f6701-6707-4a4b-a757-e56ad2eaf1e8" providerId="ADAL" clId="{DA55367C-76A9-4FB5-9C1E-037C336E9A2C}" dt="2025-04-22T13:00:21.991" v="2209" actId="403"/>
        <pc:sldMkLst>
          <pc:docMk/>
          <pc:sldMk cId="3585174266" sldId="675"/>
        </pc:sldMkLst>
      </pc:sldChg>
      <pc:sldChg chg="addSp modSp">
        <pc:chgData name="Annika Häberle" userId="e23f6701-6707-4a4b-a757-e56ad2eaf1e8" providerId="ADAL" clId="{DA55367C-76A9-4FB5-9C1E-037C336E9A2C}" dt="2025-04-22T12:59:46.403" v="2203" actId="14100"/>
        <pc:sldMkLst>
          <pc:docMk/>
          <pc:sldMk cId="1520689549" sldId="676"/>
        </pc:sldMkLst>
      </pc:sldChg>
      <pc:sldChg chg="modSp">
        <pc:chgData name="Annika Häberle" userId="e23f6701-6707-4a4b-a757-e56ad2eaf1e8" providerId="ADAL" clId="{DA55367C-76A9-4FB5-9C1E-037C336E9A2C}" dt="2025-04-22T13:42:23.012" v="2547" actId="12"/>
        <pc:sldMkLst>
          <pc:docMk/>
          <pc:sldMk cId="1916272374" sldId="679"/>
        </pc:sldMkLst>
      </pc:sldChg>
      <pc:sldChg chg="addSp modSp add">
        <pc:chgData name="Annika Häberle" userId="e23f6701-6707-4a4b-a757-e56ad2eaf1e8" providerId="ADAL" clId="{DA55367C-76A9-4FB5-9C1E-037C336E9A2C}" dt="2025-04-22T12:22:49.666" v="1949" actId="1076"/>
        <pc:sldMkLst>
          <pc:docMk/>
          <pc:sldMk cId="60939154" sldId="680"/>
        </pc:sldMkLst>
      </pc:sldChg>
      <pc:sldChg chg="add del">
        <pc:chgData name="Annika Häberle" userId="e23f6701-6707-4a4b-a757-e56ad2eaf1e8" providerId="ADAL" clId="{DA55367C-76A9-4FB5-9C1E-037C336E9A2C}" dt="2025-04-22T12:18:17.266" v="1910"/>
        <pc:sldMkLst>
          <pc:docMk/>
          <pc:sldMk cId="3585323660" sldId="680"/>
        </pc:sldMkLst>
      </pc:sldChg>
      <pc:sldChg chg="delSp modSp">
        <pc:chgData name="Annika Häberle" userId="e23f6701-6707-4a4b-a757-e56ad2eaf1e8" providerId="ADAL" clId="{DA55367C-76A9-4FB5-9C1E-037C336E9A2C}" dt="2025-04-22T13:42:55.321" v="2551" actId="14100"/>
        <pc:sldMkLst>
          <pc:docMk/>
          <pc:sldMk cId="2165355636" sldId="681"/>
        </pc:sldMkLst>
      </pc:sldChg>
      <pc:sldChg chg="modSp">
        <pc:chgData name="Annika Häberle" userId="e23f6701-6707-4a4b-a757-e56ad2eaf1e8" providerId="ADAL" clId="{DA55367C-76A9-4FB5-9C1E-037C336E9A2C}" dt="2025-04-22T13:25:02.442" v="2259" actId="1076"/>
        <pc:sldMkLst>
          <pc:docMk/>
          <pc:sldMk cId="1266525283" sldId="686"/>
        </pc:sldMkLst>
      </pc:sldChg>
    </pc:docChg>
  </pc:docChgLst>
  <pc:docChgLst>
    <pc:chgData name="maurerh.tmb22" userId="7aa1423c-8795-49e0-8989-d53f8102476c" providerId="ADAL" clId="{84969DE4-635E-4AA4-BC72-2898360BB586}"/>
    <pc:docChg chg="undo redo custSel addSld modSld modSection">
      <pc:chgData name="maurerh.tmb22" userId="7aa1423c-8795-49e0-8989-d53f8102476c" providerId="ADAL" clId="{84969DE4-635E-4AA4-BC72-2898360BB586}" dt="2025-06-10T08:41:42.110" v="1720" actId="20577"/>
      <pc:docMkLst>
        <pc:docMk/>
      </pc:docMkLst>
      <pc:sldChg chg="modSp mod">
        <pc:chgData name="maurerh.tmb22" userId="7aa1423c-8795-49e0-8989-d53f8102476c" providerId="ADAL" clId="{84969DE4-635E-4AA4-BC72-2898360BB586}" dt="2025-06-08T22:32:43.305" v="15" actId="20577"/>
        <pc:sldMkLst>
          <pc:docMk/>
          <pc:sldMk cId="3388882345" sldId="652"/>
        </pc:sldMkLst>
        <pc:spChg chg="mod">
          <ac:chgData name="maurerh.tmb22" userId="7aa1423c-8795-49e0-8989-d53f8102476c" providerId="ADAL" clId="{84969DE4-635E-4AA4-BC72-2898360BB586}" dt="2025-06-08T22:32:43.305" v="15" actId="20577"/>
          <ac:spMkLst>
            <pc:docMk/>
            <pc:sldMk cId="3388882345" sldId="652"/>
            <ac:spMk id="4" creationId="{801F26D2-C9E0-6F6D-D67C-1792E4552236}"/>
          </ac:spMkLst>
        </pc:spChg>
      </pc:sldChg>
      <pc:sldChg chg="addSp delSp modSp mod">
        <pc:chgData name="maurerh.tmb22" userId="7aa1423c-8795-49e0-8989-d53f8102476c" providerId="ADAL" clId="{84969DE4-635E-4AA4-BC72-2898360BB586}" dt="2025-06-09T14:05:57.556" v="483" actId="20577"/>
        <pc:sldMkLst>
          <pc:docMk/>
          <pc:sldMk cId="3141788730" sldId="665"/>
        </pc:sldMkLst>
        <pc:spChg chg="mod">
          <ac:chgData name="maurerh.tmb22" userId="7aa1423c-8795-49e0-8989-d53f8102476c" providerId="ADAL" clId="{84969DE4-635E-4AA4-BC72-2898360BB586}" dt="2025-06-09T14:05:57.556" v="483" actId="20577"/>
          <ac:spMkLst>
            <pc:docMk/>
            <pc:sldMk cId="3141788730" sldId="665"/>
            <ac:spMk id="7" creationId="{AFCE89D9-849E-F028-7BE9-A9187E0A5535}"/>
          </ac:spMkLst>
        </pc:spChg>
      </pc:sldChg>
      <pc:sldChg chg="addSp delSp modSp mod">
        <pc:chgData name="maurerh.tmb22" userId="7aa1423c-8795-49e0-8989-d53f8102476c" providerId="ADAL" clId="{84969DE4-635E-4AA4-BC72-2898360BB586}" dt="2025-06-08T23:29:07.491" v="123" actId="1076"/>
        <pc:sldMkLst>
          <pc:docMk/>
          <pc:sldMk cId="3106000447" sldId="678"/>
        </pc:sldMkLst>
        <pc:graphicFrameChg chg="add mod modGraphic">
          <ac:chgData name="maurerh.tmb22" userId="7aa1423c-8795-49e0-8989-d53f8102476c" providerId="ADAL" clId="{84969DE4-635E-4AA4-BC72-2898360BB586}" dt="2025-06-08T23:29:07.491" v="123" actId="1076"/>
          <ac:graphicFrameMkLst>
            <pc:docMk/>
            <pc:sldMk cId="3106000447" sldId="678"/>
            <ac:graphicFrameMk id="4" creationId="{DD1AC155-3698-ABDD-4C46-B7C9369414A0}"/>
          </ac:graphicFrameMkLst>
        </pc:graphicFrameChg>
      </pc:sldChg>
      <pc:sldChg chg="mod modShow">
        <pc:chgData name="maurerh.tmb22" userId="7aa1423c-8795-49e0-8989-d53f8102476c" providerId="ADAL" clId="{84969DE4-635E-4AA4-BC72-2898360BB586}" dt="2025-06-09T13:49:08.457" v="435" actId="729"/>
        <pc:sldMkLst>
          <pc:docMk/>
          <pc:sldMk cId="1916272374" sldId="679"/>
        </pc:sldMkLst>
      </pc:sldChg>
      <pc:sldChg chg="addSp delSp modSp mod">
        <pc:chgData name="maurerh.tmb22" userId="7aa1423c-8795-49e0-8989-d53f8102476c" providerId="ADAL" clId="{84969DE4-635E-4AA4-BC72-2898360BB586}" dt="2025-06-08T23:08:04.869" v="80" actId="14100"/>
        <pc:sldMkLst>
          <pc:docMk/>
          <pc:sldMk cId="3885160775" sldId="680"/>
        </pc:sldMkLst>
        <pc:spChg chg="mod">
          <ac:chgData name="maurerh.tmb22" userId="7aa1423c-8795-49e0-8989-d53f8102476c" providerId="ADAL" clId="{84969DE4-635E-4AA4-BC72-2898360BB586}" dt="2025-06-08T23:07:20.328" v="72" actId="20577"/>
          <ac:spMkLst>
            <pc:docMk/>
            <pc:sldMk cId="3885160775" sldId="680"/>
            <ac:spMk id="3" creationId="{F19D1047-3C23-E851-D4C4-8F9D78E362A5}"/>
          </ac:spMkLst>
        </pc:spChg>
      </pc:sldChg>
      <pc:sldChg chg="addSp delSp modSp mod">
        <pc:chgData name="maurerh.tmb22" userId="7aa1423c-8795-49e0-8989-d53f8102476c" providerId="ADAL" clId="{84969DE4-635E-4AA4-BC72-2898360BB586}" dt="2025-06-09T13:29:05.993" v="434" actId="1076"/>
        <pc:sldMkLst>
          <pc:docMk/>
          <pc:sldMk cId="1266525283" sldId="686"/>
        </pc:sldMkLst>
        <pc:spChg chg="mod">
          <ac:chgData name="maurerh.tmb22" userId="7aa1423c-8795-49e0-8989-d53f8102476c" providerId="ADAL" clId="{84969DE4-635E-4AA4-BC72-2898360BB586}" dt="2025-06-08T23:58:57.156" v="407" actId="20577"/>
          <ac:spMkLst>
            <pc:docMk/>
            <pc:sldMk cId="1266525283" sldId="686"/>
            <ac:spMk id="3" creationId="{F19D1047-3C23-E851-D4C4-8F9D78E362A5}"/>
          </ac:spMkLst>
        </pc:spChg>
        <pc:spChg chg="mod">
          <ac:chgData name="maurerh.tmb22" userId="7aa1423c-8795-49e0-8989-d53f8102476c" providerId="ADAL" clId="{84969DE4-635E-4AA4-BC72-2898360BB586}" dt="2025-06-09T13:25:29.496" v="427" actId="1076"/>
          <ac:spMkLst>
            <pc:docMk/>
            <pc:sldMk cId="1266525283" sldId="686"/>
            <ac:spMk id="4" creationId="{8E82AE8B-6FED-4296-A4A8-0F89F3781839}"/>
          </ac:spMkLst>
        </pc:spChg>
        <pc:spChg chg="add mod">
          <ac:chgData name="maurerh.tmb22" userId="7aa1423c-8795-49e0-8989-d53f8102476c" providerId="ADAL" clId="{84969DE4-635E-4AA4-BC72-2898360BB586}" dt="2025-06-09T13:25:36.950" v="428" actId="1076"/>
          <ac:spMkLst>
            <pc:docMk/>
            <pc:sldMk cId="1266525283" sldId="686"/>
            <ac:spMk id="8" creationId="{89441A93-FB17-BF9E-2ADB-914C7E8F865F}"/>
          </ac:spMkLst>
        </pc:spChg>
        <pc:spChg chg="add mod">
          <ac:chgData name="maurerh.tmb22" userId="7aa1423c-8795-49e0-8989-d53f8102476c" providerId="ADAL" clId="{84969DE4-635E-4AA4-BC72-2898360BB586}" dt="2025-06-09T13:25:36.950" v="428" actId="1076"/>
          <ac:spMkLst>
            <pc:docMk/>
            <pc:sldMk cId="1266525283" sldId="686"/>
            <ac:spMk id="9" creationId="{AE40D5B5-8D00-2E79-AB34-E07002875592}"/>
          </ac:spMkLst>
        </pc:spChg>
        <pc:spChg chg="add mod">
          <ac:chgData name="maurerh.tmb22" userId="7aa1423c-8795-49e0-8989-d53f8102476c" providerId="ADAL" clId="{84969DE4-635E-4AA4-BC72-2898360BB586}" dt="2025-06-09T13:25:39.302" v="429" actId="1076"/>
          <ac:spMkLst>
            <pc:docMk/>
            <pc:sldMk cId="1266525283" sldId="686"/>
            <ac:spMk id="11" creationId="{FA984F99-23C6-E9C2-E0DA-659EF00C49E2}"/>
          </ac:spMkLst>
        </pc:spChg>
        <pc:spChg chg="add mod">
          <ac:chgData name="maurerh.tmb22" userId="7aa1423c-8795-49e0-8989-d53f8102476c" providerId="ADAL" clId="{84969DE4-635E-4AA4-BC72-2898360BB586}" dt="2025-06-09T13:29:05.993" v="434" actId="1076"/>
          <ac:spMkLst>
            <pc:docMk/>
            <pc:sldMk cId="1266525283" sldId="686"/>
            <ac:spMk id="18" creationId="{A4034216-3207-DE24-7BCB-7D767B16757C}"/>
          </ac:spMkLst>
        </pc:spChg>
        <pc:picChg chg="add mod">
          <ac:chgData name="maurerh.tmb22" userId="7aa1423c-8795-49e0-8989-d53f8102476c" providerId="ADAL" clId="{84969DE4-635E-4AA4-BC72-2898360BB586}" dt="2025-06-09T13:25:03.260" v="426" actId="1076"/>
          <ac:picMkLst>
            <pc:docMk/>
            <pc:sldMk cId="1266525283" sldId="686"/>
            <ac:picMk id="17" creationId="{EE137D53-DD23-A6F0-E215-7F273BE4AEB2}"/>
          </ac:picMkLst>
        </pc:picChg>
      </pc:sldChg>
      <pc:sldChg chg="addSp delSp modSp add mod">
        <pc:chgData name="maurerh.tmb22" userId="7aa1423c-8795-49e0-8989-d53f8102476c" providerId="ADAL" clId="{84969DE4-635E-4AA4-BC72-2898360BB586}" dt="2025-06-08T23:23:45.311" v="111" actId="339"/>
        <pc:sldMkLst>
          <pc:docMk/>
          <pc:sldMk cId="310928573" sldId="688"/>
        </pc:sldMkLst>
        <pc:spChg chg="mod">
          <ac:chgData name="maurerh.tmb22" userId="7aa1423c-8795-49e0-8989-d53f8102476c" providerId="ADAL" clId="{84969DE4-635E-4AA4-BC72-2898360BB586}" dt="2025-06-08T22:55:00.914" v="37" actId="20577"/>
          <ac:spMkLst>
            <pc:docMk/>
            <pc:sldMk cId="310928573" sldId="688"/>
            <ac:spMk id="3" creationId="{92F4BE35-7788-41F2-C7C7-9228BDB84A7E}"/>
          </ac:spMkLst>
        </pc:spChg>
        <pc:spChg chg="mod">
          <ac:chgData name="maurerh.tmb22" userId="7aa1423c-8795-49e0-8989-d53f8102476c" providerId="ADAL" clId="{84969DE4-635E-4AA4-BC72-2898360BB586}" dt="2025-06-08T23:10:38.027" v="86" actId="20577"/>
          <ac:spMkLst>
            <pc:docMk/>
            <pc:sldMk cId="310928573" sldId="688"/>
            <ac:spMk id="4" creationId="{0AA6E0FE-8E44-B069-5A81-3CF45EEC6D4B}"/>
          </ac:spMkLst>
        </pc:spChg>
      </pc:sldChg>
      <pc:sldChg chg="modSp mod">
        <pc:chgData name="maurerh.tmb22" userId="7aa1423c-8795-49e0-8989-d53f8102476c" providerId="ADAL" clId="{84969DE4-635E-4AA4-BC72-2898360BB586}" dt="2025-06-09T14:33:20.881" v="779" actId="20577"/>
        <pc:sldMkLst>
          <pc:docMk/>
          <pc:sldMk cId="3315224854" sldId="698"/>
        </pc:sldMkLst>
      </pc:sldChg>
      <pc:sldChg chg="modSp mod">
        <pc:chgData name="maurerh.tmb22" userId="7aa1423c-8795-49e0-8989-d53f8102476c" providerId="ADAL" clId="{84969DE4-635E-4AA4-BC72-2898360BB586}" dt="2025-06-09T14:08:34.435" v="485" actId="14100"/>
        <pc:sldMkLst>
          <pc:docMk/>
          <pc:sldMk cId="328497533" sldId="708"/>
        </pc:sldMkLst>
      </pc:sldChg>
      <pc:sldChg chg="addSp delSp modSp mod">
        <pc:chgData name="maurerh.tmb22" userId="7aa1423c-8795-49e0-8989-d53f8102476c" providerId="ADAL" clId="{84969DE4-635E-4AA4-BC72-2898360BB586}" dt="2025-06-09T14:47:40.662" v="882" actId="14100"/>
        <pc:sldMkLst>
          <pc:docMk/>
          <pc:sldMk cId="392917613" sldId="709"/>
        </pc:sldMkLst>
        <pc:spChg chg="add mod">
          <ac:chgData name="maurerh.tmb22" userId="7aa1423c-8795-49e0-8989-d53f8102476c" providerId="ADAL" clId="{84969DE4-635E-4AA4-BC72-2898360BB586}" dt="2025-06-09T14:25:59.373" v="741" actId="20577"/>
          <ac:spMkLst>
            <pc:docMk/>
            <pc:sldMk cId="392917613" sldId="709"/>
            <ac:spMk id="42" creationId="{30EA1363-FF79-AF7C-E2A9-C988ED8D2F8D}"/>
          </ac:spMkLst>
        </pc:spChg>
        <pc:spChg chg="add mod">
          <ac:chgData name="maurerh.tmb22" userId="7aa1423c-8795-49e0-8989-d53f8102476c" providerId="ADAL" clId="{84969DE4-635E-4AA4-BC72-2898360BB586}" dt="2025-06-09T14:45:26.954" v="812" actId="1076"/>
          <ac:spMkLst>
            <pc:docMk/>
            <pc:sldMk cId="392917613" sldId="709"/>
            <ac:spMk id="43" creationId="{935C20A0-5394-AFA0-08CD-B75FDD482A14}"/>
          </ac:spMkLst>
        </pc:spChg>
        <pc:spChg chg="add mod">
          <ac:chgData name="maurerh.tmb22" userId="7aa1423c-8795-49e0-8989-d53f8102476c" providerId="ADAL" clId="{84969DE4-635E-4AA4-BC72-2898360BB586}" dt="2025-06-09T14:45:39.781" v="822" actId="20577"/>
          <ac:spMkLst>
            <pc:docMk/>
            <pc:sldMk cId="392917613" sldId="709"/>
            <ac:spMk id="44" creationId="{323EE19F-C289-148B-8694-238B499E1913}"/>
          </ac:spMkLst>
        </pc:spChg>
        <pc:spChg chg="add mod">
          <ac:chgData name="maurerh.tmb22" userId="7aa1423c-8795-49e0-8989-d53f8102476c" providerId="ADAL" clId="{84969DE4-635E-4AA4-BC72-2898360BB586}" dt="2025-06-09T14:46:07.007" v="855" actId="20577"/>
          <ac:spMkLst>
            <pc:docMk/>
            <pc:sldMk cId="392917613" sldId="709"/>
            <ac:spMk id="45" creationId="{72573BD5-2B10-DD40-42DE-1820BFE544A3}"/>
          </ac:spMkLst>
        </pc:spChg>
        <pc:spChg chg="add mod">
          <ac:chgData name="maurerh.tmb22" userId="7aa1423c-8795-49e0-8989-d53f8102476c" providerId="ADAL" clId="{84969DE4-635E-4AA4-BC72-2898360BB586}" dt="2025-06-09T14:46:22.631" v="865" actId="20577"/>
          <ac:spMkLst>
            <pc:docMk/>
            <pc:sldMk cId="392917613" sldId="709"/>
            <ac:spMk id="46" creationId="{8929F0A4-2E23-0913-E46C-0BB388F10017}"/>
          </ac:spMkLst>
        </pc:spChg>
        <pc:graphicFrameChg chg="mod">
          <ac:chgData name="maurerh.tmb22" userId="7aa1423c-8795-49e0-8989-d53f8102476c" providerId="ADAL" clId="{84969DE4-635E-4AA4-BC72-2898360BB586}" dt="2025-06-09T13:58:13.356" v="479" actId="14100"/>
          <ac:graphicFrameMkLst>
            <pc:docMk/>
            <pc:sldMk cId="392917613" sldId="709"/>
            <ac:graphicFrameMk id="4" creationId="{B3D2C8FF-5991-DD19-2334-45CC44B37D39}"/>
          </ac:graphicFrameMkLst>
        </pc:graphicFrameChg>
        <pc:cxnChg chg="add mod">
          <ac:chgData name="maurerh.tmb22" userId="7aa1423c-8795-49e0-8989-d53f8102476c" providerId="ADAL" clId="{84969DE4-635E-4AA4-BC72-2898360BB586}" dt="2025-06-09T14:46:54.009" v="870" actId="14100"/>
          <ac:cxnSpMkLst>
            <pc:docMk/>
            <pc:sldMk cId="392917613" sldId="709"/>
            <ac:cxnSpMk id="47" creationId="{49A656E8-181F-35D9-6A38-9D36F2D33942}"/>
          </ac:cxnSpMkLst>
        </pc:cxnChg>
        <pc:cxnChg chg="add mod">
          <ac:chgData name="maurerh.tmb22" userId="7aa1423c-8795-49e0-8989-d53f8102476c" providerId="ADAL" clId="{84969DE4-635E-4AA4-BC72-2898360BB586}" dt="2025-06-09T14:47:02.832" v="873" actId="14100"/>
          <ac:cxnSpMkLst>
            <pc:docMk/>
            <pc:sldMk cId="392917613" sldId="709"/>
            <ac:cxnSpMk id="51" creationId="{320C2265-DB83-D158-EF64-28F110CDACB9}"/>
          </ac:cxnSpMkLst>
        </pc:cxnChg>
        <pc:cxnChg chg="add mod">
          <ac:chgData name="maurerh.tmb22" userId="7aa1423c-8795-49e0-8989-d53f8102476c" providerId="ADAL" clId="{84969DE4-635E-4AA4-BC72-2898360BB586}" dt="2025-06-09T14:47:14.867" v="876" actId="14100"/>
          <ac:cxnSpMkLst>
            <pc:docMk/>
            <pc:sldMk cId="392917613" sldId="709"/>
            <ac:cxnSpMk id="53" creationId="{5E2CBD2B-0874-4C43-3E1D-83910F605E7F}"/>
          </ac:cxnSpMkLst>
        </pc:cxnChg>
        <pc:cxnChg chg="add mod">
          <ac:chgData name="maurerh.tmb22" userId="7aa1423c-8795-49e0-8989-d53f8102476c" providerId="ADAL" clId="{84969DE4-635E-4AA4-BC72-2898360BB586}" dt="2025-06-09T14:47:28.906" v="879" actId="14100"/>
          <ac:cxnSpMkLst>
            <pc:docMk/>
            <pc:sldMk cId="392917613" sldId="709"/>
            <ac:cxnSpMk id="55" creationId="{25A7FA8D-9EFA-410E-4217-ADCFEC47EF47}"/>
          </ac:cxnSpMkLst>
        </pc:cxnChg>
        <pc:cxnChg chg="add mod">
          <ac:chgData name="maurerh.tmb22" userId="7aa1423c-8795-49e0-8989-d53f8102476c" providerId="ADAL" clId="{84969DE4-635E-4AA4-BC72-2898360BB586}" dt="2025-06-09T14:47:40.662" v="882" actId="14100"/>
          <ac:cxnSpMkLst>
            <pc:docMk/>
            <pc:sldMk cId="392917613" sldId="709"/>
            <ac:cxnSpMk id="57" creationId="{DA4423B2-D3BC-E11A-5980-9DF8C417A046}"/>
          </ac:cxnSpMkLst>
        </pc:cxnChg>
      </pc:sldChg>
      <pc:sldChg chg="modSp mod">
        <pc:chgData name="maurerh.tmb22" userId="7aa1423c-8795-49e0-8989-d53f8102476c" providerId="ADAL" clId="{84969DE4-635E-4AA4-BC72-2898360BB586}" dt="2025-06-09T13:57:22.686" v="470" actId="20577"/>
        <pc:sldMkLst>
          <pc:docMk/>
          <pc:sldMk cId="3058823640" sldId="710"/>
        </pc:sldMkLst>
        <pc:spChg chg="mod">
          <ac:chgData name="maurerh.tmb22" userId="7aa1423c-8795-49e0-8989-d53f8102476c" providerId="ADAL" clId="{84969DE4-635E-4AA4-BC72-2898360BB586}" dt="2025-06-09T13:57:22.686" v="470" actId="20577"/>
          <ac:spMkLst>
            <pc:docMk/>
            <pc:sldMk cId="3058823640" sldId="710"/>
            <ac:spMk id="3" creationId="{3D5A49FF-1CBB-1339-08D3-AE963149983D}"/>
          </ac:spMkLst>
        </pc:spChg>
      </pc:sldChg>
      <pc:sldChg chg="modSp add mod">
        <pc:chgData name="maurerh.tmb22" userId="7aa1423c-8795-49e0-8989-d53f8102476c" providerId="ADAL" clId="{84969DE4-635E-4AA4-BC72-2898360BB586}" dt="2025-06-09T18:41:19.420" v="901" actId="1076"/>
        <pc:sldMkLst>
          <pc:docMk/>
          <pc:sldMk cId="3077439622" sldId="713"/>
        </pc:sldMkLst>
        <pc:spChg chg="mod">
          <ac:chgData name="maurerh.tmb22" userId="7aa1423c-8795-49e0-8989-d53f8102476c" providerId="ADAL" clId="{84969DE4-635E-4AA4-BC72-2898360BB586}" dt="2025-06-09T13:59:17.990" v="480" actId="20577"/>
          <ac:spMkLst>
            <pc:docMk/>
            <pc:sldMk cId="3077439622" sldId="713"/>
            <ac:spMk id="3" creationId="{0E22EAC4-BAFF-80CA-6987-E1B4F01B4FD7}"/>
          </ac:spMkLst>
        </pc:spChg>
        <pc:spChg chg="mod">
          <ac:chgData name="maurerh.tmb22" userId="7aa1423c-8795-49e0-8989-d53f8102476c" providerId="ADAL" clId="{84969DE4-635E-4AA4-BC72-2898360BB586}" dt="2025-06-09T18:40:59.018" v="898" actId="20577"/>
          <ac:spMkLst>
            <pc:docMk/>
            <pc:sldMk cId="3077439622" sldId="713"/>
            <ac:spMk id="4" creationId="{D53695D3-10E2-6D12-75E1-D4FCF7815E69}"/>
          </ac:spMkLst>
        </pc:spChg>
        <pc:spChg chg="mod">
          <ac:chgData name="maurerh.tmb22" userId="7aa1423c-8795-49e0-8989-d53f8102476c" providerId="ADAL" clId="{84969DE4-635E-4AA4-BC72-2898360BB586}" dt="2025-06-09T18:41:19.420" v="901" actId="1076"/>
          <ac:spMkLst>
            <pc:docMk/>
            <pc:sldMk cId="3077439622" sldId="713"/>
            <ac:spMk id="8" creationId="{561F1E15-B51B-69B6-6EA1-42FEDF4B9685}"/>
          </ac:spMkLst>
        </pc:spChg>
        <pc:spChg chg="mod">
          <ac:chgData name="maurerh.tmb22" userId="7aa1423c-8795-49e0-8989-d53f8102476c" providerId="ADAL" clId="{84969DE4-635E-4AA4-BC72-2898360BB586}" dt="2025-06-09T18:41:19.420" v="901" actId="1076"/>
          <ac:spMkLst>
            <pc:docMk/>
            <pc:sldMk cId="3077439622" sldId="713"/>
            <ac:spMk id="9" creationId="{A31A4A5F-86C0-8E53-6F30-E0E9FD5587E4}"/>
          </ac:spMkLst>
        </pc:spChg>
        <pc:spChg chg="mod">
          <ac:chgData name="maurerh.tmb22" userId="7aa1423c-8795-49e0-8989-d53f8102476c" providerId="ADAL" clId="{84969DE4-635E-4AA4-BC72-2898360BB586}" dt="2025-06-09T18:41:19.420" v="901" actId="1076"/>
          <ac:spMkLst>
            <pc:docMk/>
            <pc:sldMk cId="3077439622" sldId="713"/>
            <ac:spMk id="11" creationId="{8512FF01-76EA-FDA2-D5F4-8C4FDDA1F97B}"/>
          </ac:spMkLst>
        </pc:spChg>
      </pc:sldChg>
      <pc:sldChg chg="modSp add mod">
        <pc:chgData name="maurerh.tmb22" userId="7aa1423c-8795-49e0-8989-d53f8102476c" providerId="ADAL" clId="{84969DE4-635E-4AA4-BC72-2898360BB586}" dt="2025-06-10T08:17:14.094" v="908" actId="1076"/>
        <pc:sldMkLst>
          <pc:docMk/>
          <pc:sldMk cId="3383276389" sldId="714"/>
        </pc:sldMkLst>
        <pc:spChg chg="mod">
          <ac:chgData name="maurerh.tmb22" userId="7aa1423c-8795-49e0-8989-d53f8102476c" providerId="ADAL" clId="{84969DE4-635E-4AA4-BC72-2898360BB586}" dt="2025-06-10T08:17:14.094" v="908" actId="1076"/>
          <ac:spMkLst>
            <pc:docMk/>
            <pc:sldMk cId="3383276389" sldId="714"/>
            <ac:spMk id="4" creationId="{64F90D10-E54C-DBD3-BA32-E29439550E4A}"/>
          </ac:spMkLst>
        </pc:spChg>
      </pc:sldChg>
      <pc:sldChg chg="modSp mod">
        <pc:chgData name="maurerh.tmb22" userId="7aa1423c-8795-49e0-8989-d53f8102476c" providerId="ADAL" clId="{84969DE4-635E-4AA4-BC72-2898360BB586}" dt="2025-06-10T08:31:43.837" v="954" actId="20577"/>
        <pc:sldMkLst>
          <pc:docMk/>
          <pc:sldMk cId="1250413783" sldId="721"/>
        </pc:sldMkLst>
        <pc:spChg chg="mod">
          <ac:chgData name="maurerh.tmb22" userId="7aa1423c-8795-49e0-8989-d53f8102476c" providerId="ADAL" clId="{84969DE4-635E-4AA4-BC72-2898360BB586}" dt="2025-06-10T08:31:43.837" v="954" actId="20577"/>
          <ac:spMkLst>
            <pc:docMk/>
            <pc:sldMk cId="1250413783" sldId="721"/>
            <ac:spMk id="9" creationId="{A8D23267-1844-D715-7652-4D95C7CC9B50}"/>
          </ac:spMkLst>
        </pc:spChg>
      </pc:sldChg>
      <pc:sldChg chg="addSp modSp mod">
        <pc:chgData name="maurerh.tmb22" userId="7aa1423c-8795-49e0-8989-d53f8102476c" providerId="ADAL" clId="{84969DE4-635E-4AA4-BC72-2898360BB586}" dt="2025-06-10T08:26:43.292" v="942" actId="1582"/>
        <pc:sldMkLst>
          <pc:docMk/>
          <pc:sldMk cId="3479407819" sldId="725"/>
        </pc:sldMkLst>
        <pc:picChg chg="add mod">
          <ac:chgData name="maurerh.tmb22" userId="7aa1423c-8795-49e0-8989-d53f8102476c" providerId="ADAL" clId="{84969DE4-635E-4AA4-BC72-2898360BB586}" dt="2025-06-10T08:25:54.966" v="935" actId="1038"/>
          <ac:picMkLst>
            <pc:docMk/>
            <pc:sldMk cId="3479407819" sldId="725"/>
            <ac:picMk id="2" creationId="{70D54B37-F747-B4D9-3E33-72435AF18D7C}"/>
          </ac:picMkLst>
        </pc:picChg>
        <pc:picChg chg="mod">
          <ac:chgData name="maurerh.tmb22" userId="7aa1423c-8795-49e0-8989-d53f8102476c" providerId="ADAL" clId="{84969DE4-635E-4AA4-BC72-2898360BB586}" dt="2025-06-10T08:25:47.608" v="920" actId="1076"/>
          <ac:picMkLst>
            <pc:docMk/>
            <pc:sldMk cId="3479407819" sldId="725"/>
            <ac:picMk id="9" creationId="{5BD6328D-5840-1ACE-5FDC-3AC710376195}"/>
          </ac:picMkLst>
        </pc:picChg>
        <pc:cxnChg chg="add mod">
          <ac:chgData name="maurerh.tmb22" userId="7aa1423c-8795-49e0-8989-d53f8102476c" providerId="ADAL" clId="{84969DE4-635E-4AA4-BC72-2898360BB586}" dt="2025-06-10T08:26:43.292" v="942" actId="1582"/>
          <ac:cxnSpMkLst>
            <pc:docMk/>
            <pc:sldMk cId="3479407819" sldId="725"/>
            <ac:cxnSpMk id="4" creationId="{9F9F1D1B-1918-A859-1BCB-39F8BC8D4271}"/>
          </ac:cxnSpMkLst>
        </pc:cxnChg>
      </pc:sldChg>
      <pc:sldChg chg="addSp delSp modSp add mod modAnim">
        <pc:chgData name="maurerh.tmb22" userId="7aa1423c-8795-49e0-8989-d53f8102476c" providerId="ADAL" clId="{84969DE4-635E-4AA4-BC72-2898360BB586}" dt="2025-06-10T08:19:35.278" v="916" actId="1076"/>
        <pc:sldMkLst>
          <pc:docMk/>
          <pc:sldMk cId="1002509375" sldId="733"/>
        </pc:sldMkLst>
        <pc:picChg chg="add mod">
          <ac:chgData name="maurerh.tmb22" userId="7aa1423c-8795-49e0-8989-d53f8102476c" providerId="ADAL" clId="{84969DE4-635E-4AA4-BC72-2898360BB586}" dt="2025-06-10T08:19:35.278" v="916" actId="1076"/>
          <ac:picMkLst>
            <pc:docMk/>
            <pc:sldMk cId="1002509375" sldId="733"/>
            <ac:picMk id="9" creationId="{A46AFF21-92BF-9F13-F617-548BA6F6EDF4}"/>
          </ac:picMkLst>
        </pc:picChg>
      </pc:sldChg>
      <pc:sldChg chg="addSp delSp modSp add mod">
        <pc:chgData name="maurerh.tmb22" userId="7aa1423c-8795-49e0-8989-d53f8102476c" providerId="ADAL" clId="{84969DE4-635E-4AA4-BC72-2898360BB586}" dt="2025-06-10T08:41:42.110" v="1720" actId="20577"/>
        <pc:sldMkLst>
          <pc:docMk/>
          <pc:sldMk cId="1999475759" sldId="735"/>
        </pc:sldMkLst>
        <pc:spChg chg="mod">
          <ac:chgData name="maurerh.tmb22" userId="7aa1423c-8795-49e0-8989-d53f8102476c" providerId="ADAL" clId="{84969DE4-635E-4AA4-BC72-2898360BB586}" dt="2025-06-10T08:32:50.843" v="984" actId="20577"/>
          <ac:spMkLst>
            <pc:docMk/>
            <pc:sldMk cId="1999475759" sldId="735"/>
            <ac:spMk id="3" creationId="{652F3E51-D0DA-CCC2-672D-997F6179FE7D}"/>
          </ac:spMkLst>
        </pc:spChg>
        <pc:spChg chg="add mod">
          <ac:chgData name="maurerh.tmb22" userId="7aa1423c-8795-49e0-8989-d53f8102476c" providerId="ADAL" clId="{84969DE4-635E-4AA4-BC72-2898360BB586}" dt="2025-06-10T08:38:22.786" v="1335" actId="14100"/>
          <ac:spMkLst>
            <pc:docMk/>
            <pc:sldMk cId="1999475759" sldId="735"/>
            <ac:spMk id="4" creationId="{93D2ED49-507B-E778-A7FE-8BA49E7A7516}"/>
          </ac:spMkLst>
        </pc:spChg>
        <pc:spChg chg="add mod">
          <ac:chgData name="maurerh.tmb22" userId="7aa1423c-8795-49e0-8989-d53f8102476c" providerId="ADAL" clId="{84969DE4-635E-4AA4-BC72-2898360BB586}" dt="2025-06-10T08:38:02.787" v="1334" actId="1038"/>
          <ac:spMkLst>
            <pc:docMk/>
            <pc:sldMk cId="1999475759" sldId="735"/>
            <ac:spMk id="9" creationId="{7AC12146-A14C-C3BD-A7FC-38A34507E3CD}"/>
          </ac:spMkLst>
        </pc:spChg>
        <pc:spChg chg="add mod">
          <ac:chgData name="maurerh.tmb22" userId="7aa1423c-8795-49e0-8989-d53f8102476c" providerId="ADAL" clId="{84969DE4-635E-4AA4-BC72-2898360BB586}" dt="2025-06-10T08:34:32.970" v="1074" actId="207"/>
          <ac:spMkLst>
            <pc:docMk/>
            <pc:sldMk cId="1999475759" sldId="735"/>
            <ac:spMk id="11" creationId="{9D5AAF48-2491-8940-4C8A-800AF720B65F}"/>
          </ac:spMkLst>
        </pc:spChg>
        <pc:spChg chg="add mod">
          <ac:chgData name="maurerh.tmb22" userId="7aa1423c-8795-49e0-8989-d53f8102476c" providerId="ADAL" clId="{84969DE4-635E-4AA4-BC72-2898360BB586}" dt="2025-06-10T08:37:56.585" v="1333" actId="1037"/>
          <ac:spMkLst>
            <pc:docMk/>
            <pc:sldMk cId="1999475759" sldId="735"/>
            <ac:spMk id="24" creationId="{70CD1ED8-DE77-6BBA-8DD1-B72B2DE129AA}"/>
          </ac:spMkLst>
        </pc:spChg>
        <pc:spChg chg="add mod">
          <ac:chgData name="maurerh.tmb22" userId="7aa1423c-8795-49e0-8989-d53f8102476c" providerId="ADAL" clId="{84969DE4-635E-4AA4-BC72-2898360BB586}" dt="2025-06-10T08:39:52.654" v="1444" actId="255"/>
          <ac:spMkLst>
            <pc:docMk/>
            <pc:sldMk cId="1999475759" sldId="735"/>
            <ac:spMk id="29" creationId="{42A632C9-34C4-2FD7-4E08-C87BDC698E95}"/>
          </ac:spMkLst>
        </pc:spChg>
        <pc:spChg chg="add mod">
          <ac:chgData name="maurerh.tmb22" userId="7aa1423c-8795-49e0-8989-d53f8102476c" providerId="ADAL" clId="{84969DE4-635E-4AA4-BC72-2898360BB586}" dt="2025-06-10T08:41:42.110" v="1720" actId="20577"/>
          <ac:spMkLst>
            <pc:docMk/>
            <pc:sldMk cId="1999475759" sldId="735"/>
            <ac:spMk id="30" creationId="{91B3E0D6-30E7-4889-22FA-FCBD157E2028}"/>
          </ac:spMkLst>
        </pc:spChg>
        <pc:spChg chg="add mod">
          <ac:chgData name="maurerh.tmb22" userId="7aa1423c-8795-49e0-8989-d53f8102476c" providerId="ADAL" clId="{84969DE4-635E-4AA4-BC72-2898360BB586}" dt="2025-06-10T08:38:43.302" v="1342" actId="1076"/>
          <ac:spMkLst>
            <pc:docMk/>
            <pc:sldMk cId="1999475759" sldId="735"/>
            <ac:spMk id="33" creationId="{A1278E32-D975-E583-2A6C-24432FA3472A}"/>
          </ac:spMkLst>
        </pc:spChg>
        <pc:spChg chg="add mod">
          <ac:chgData name="maurerh.tmb22" userId="7aa1423c-8795-49e0-8989-d53f8102476c" providerId="ADAL" clId="{84969DE4-635E-4AA4-BC72-2898360BB586}" dt="2025-06-10T08:38:51.351" v="1354" actId="20577"/>
          <ac:spMkLst>
            <pc:docMk/>
            <pc:sldMk cId="1999475759" sldId="735"/>
            <ac:spMk id="34" creationId="{8ECAA7F0-2EF2-7499-F60E-079376133A9F}"/>
          </ac:spMkLst>
        </pc:spChg>
        <pc:spChg chg="add mod">
          <ac:chgData name="maurerh.tmb22" userId="7aa1423c-8795-49e0-8989-d53f8102476c" providerId="ADAL" clId="{84969DE4-635E-4AA4-BC72-2898360BB586}" dt="2025-06-10T08:40:02.029" v="1455" actId="1035"/>
          <ac:spMkLst>
            <pc:docMk/>
            <pc:sldMk cId="1999475759" sldId="735"/>
            <ac:spMk id="35" creationId="{52C60C8E-2B7C-1167-149C-F7F9A525C39D}"/>
          </ac:spMkLst>
        </pc:spChg>
        <pc:picChg chg="add mod">
          <ac:chgData name="maurerh.tmb22" userId="7aa1423c-8795-49e0-8989-d53f8102476c" providerId="ADAL" clId="{84969DE4-635E-4AA4-BC72-2898360BB586}" dt="2025-06-10T08:33:46.566" v="1066" actId="1076"/>
          <ac:picMkLst>
            <pc:docMk/>
            <pc:sldMk cId="1999475759" sldId="735"/>
            <ac:picMk id="1028" creationId="{FED45A5D-E2F9-4966-8306-E638A9200A59}"/>
          </ac:picMkLst>
        </pc:picChg>
        <pc:cxnChg chg="add mod">
          <ac:chgData name="maurerh.tmb22" userId="7aa1423c-8795-49e0-8989-d53f8102476c" providerId="ADAL" clId="{84969DE4-635E-4AA4-BC72-2898360BB586}" dt="2025-06-10T08:35:30.518" v="1087" actId="1582"/>
          <ac:cxnSpMkLst>
            <pc:docMk/>
            <pc:sldMk cId="1999475759" sldId="735"/>
            <ac:cxnSpMk id="26" creationId="{41E07753-56AA-A9FF-92A6-88F20DB55C0E}"/>
          </ac:cxnSpMkLst>
        </pc:cxnChg>
        <pc:cxnChg chg="add mod">
          <ac:chgData name="maurerh.tmb22" userId="7aa1423c-8795-49e0-8989-d53f8102476c" providerId="ADAL" clId="{84969DE4-635E-4AA4-BC72-2898360BB586}" dt="2025-06-10T08:39:03.778" v="1357" actId="14100"/>
          <ac:cxnSpMkLst>
            <pc:docMk/>
            <pc:sldMk cId="1999475759" sldId="735"/>
            <ac:cxnSpMk id="36" creationId="{C287CD6F-43D3-2B0C-3084-61CDE1A4087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2-2B48-4F1B-AFB0-9892D91A6B5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2B48-4F1B-AFB0-9892D91A6B5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2B48-4F1B-AFB0-9892D91A6B5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4-2B48-4F1B-AFB0-9892D91A6B5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386364529796933"/>
                      <c:h val="0.177736287132826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2B48-4F1B-AFB0-9892D91A6B5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2B48-4F1B-AFB0-9892D91A6B5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2B48-4F1B-AFB0-9892D91A6B5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4-2B48-4F1B-AFB0-9892D91A6B53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Werbegeschenk</c:v>
                </c:pt>
                <c:pt idx="1">
                  <c:v>Elektronik</c:v>
                </c:pt>
                <c:pt idx="2">
                  <c:v>Mechanik</c:v>
                </c:pt>
                <c:pt idx="3">
                  <c:v>Offenes Budget</c:v>
                </c:pt>
              </c:strCache>
            </c:strRef>
          </c:cat>
          <c:val>
            <c:numRef>
              <c:f>Tabelle1!$B$2:$B$5</c:f>
              <c:numCache>
                <c:formatCode>#,##0.00\ "€"</c:formatCode>
                <c:ptCount val="4"/>
                <c:pt idx="0">
                  <c:v>140</c:v>
                </c:pt>
                <c:pt idx="1">
                  <c:v>560</c:v>
                </c:pt>
                <c:pt idx="2">
                  <c:v>24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48-4F1B-AFB0-9892D91A6B53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D5286F-F46C-4E2C-97AF-6B45DE4CB2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66E692-6480-48CC-8BCD-A7DF5C1F69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EB490-C5F1-4FE5-B523-7E2A854CD119}" type="datetimeFigureOut">
              <a:rPr lang="de-DE" smtClean="0"/>
              <a:t>03.07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58393A-9752-4A74-9877-37793712D6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DF026-F42B-4782-9457-5E48B4742A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6C2D2-50ED-4FF1-94DB-86311ACB8C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780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EF2B-B444-4E6C-B710-FDFA372E266A}" type="datetimeFigureOut">
              <a:rPr lang="de-DE" smtClean="0"/>
              <a:t>03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B7BD1D-57F2-4AA2-9428-BF308BAFC7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5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0341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024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4CB92-C8E6-35C0-7F00-8A7375E7C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6DABBE1-FF87-364D-0AAC-6CD5B23FCC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F317A97-3640-C108-E56A-9F93B2B852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E49D8A-60E9-CE7B-5CB4-207B1A795B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6973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F09DA-4BF1-2238-A967-693D42646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3A8ECD3-F4EB-3C1A-4C1A-AB609E60C5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1C61EB4-C088-236D-8C85-40E4A3228C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1CB296-21B0-ED53-A1CF-F894EFF410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5640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D5F50F-E7E6-AC19-C4CC-D8FF453F3A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51AC959-8DBF-452A-6662-9CDF0F90FE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376E664-A3CB-7A10-D780-0A1F44D589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437B3E-8320-249B-AB60-D1B6EAD6BA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966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F4DDB-AA16-7264-B803-4DC43DBED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C2B847-F41B-1BC2-63B9-9D5D7E4D49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2D58E80-4BC4-699F-8B3C-8DB19637D8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1177D1-3931-5AC8-3778-F4D8ECA720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7557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A05DB-91F2-53B1-877A-B72B73402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BDD8672-1142-4AD6-D4C9-B2B544DDD2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9FD5F9B-ED08-3186-529D-48D2BC97E7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1A94E8-1330-D2C5-00C1-0825055038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962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D5F50-F045-657A-45D9-A19FBC5A4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F1206DD-2D9E-FDC5-A481-12B6B85B78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1581421-4B8C-5024-025D-A425F9AED7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77E2A0-7121-9CC5-5BD5-6A24BF9741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7019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Ex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92093E-44AE-4A88-A4CB-D23B1DD324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319" y="642855"/>
            <a:ext cx="7228674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2196AA1-313D-4990-8CC0-383A233A26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351880"/>
            <a:ext cx="12192000" cy="4506119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1E2BE177-B8AE-4CA3-8B0C-241AD815C55F}"/>
              </a:ext>
            </a:extLst>
          </p:cNvPr>
          <p:cNvCxnSpPr>
            <a:cxnSpLocks/>
          </p:cNvCxnSpPr>
          <p:nvPr/>
        </p:nvCxnSpPr>
        <p:spPr>
          <a:xfrm>
            <a:off x="8512714" y="0"/>
            <a:ext cx="0" cy="130810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5">
            <a:extLst>
              <a:ext uri="{FF2B5EF4-FFF2-40B4-BE49-F238E27FC236}">
                <a16:creationId xmlns:a16="http://schemas.microsoft.com/office/drawing/2014/main" id="{9A76B5C1-E9F7-44AB-B776-CC664C7A0794}"/>
              </a:ext>
            </a:extLst>
          </p:cNvPr>
          <p:cNvCxnSpPr>
            <a:cxnSpLocks/>
          </p:cNvCxnSpPr>
          <p:nvPr/>
        </p:nvCxnSpPr>
        <p:spPr>
          <a:xfrm>
            <a:off x="8512714" y="1632585"/>
            <a:ext cx="0" cy="432088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DAACFA-7C59-48D1-9F81-779220D25C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11763" y="642855"/>
            <a:ext cx="1524435" cy="5539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8A8A8A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9328C91-FAF8-4C71-890F-C1FB2958BAA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1139607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smtClean="0">
                <a:solidFill>
                  <a:srgbClr val="8A8A8A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buFont typeface="Arial" panose="020B0604020202020204" pitchFamily="34" charset="0"/>
              <a:buNone/>
            </a:pPr>
            <a:fld id="{59F5FB76-4A09-479F-9E8A-039C8811C15E}" type="datetime4">
              <a:rPr lang="de-DE" smtClean="0"/>
              <a:t>3. Juli 2025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241B12-AFED-4016-A470-4C5CF08E7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53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2128A-9CD1-4BA0-8866-2DE4C8621BF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3E6CB3C-AA15-4066-87A4-1BC111AFD6D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18320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1B4FA4A-707E-4B21-8550-2A1CA445619E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4336655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568BC8-CF70-4E83-B3D8-E4E070B4F8E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8154989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A31530B3-F348-4886-8DA8-C7DF27643531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C2411BF-A4DA-4EA6-AA41-57EDAE53F86F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0883B8F2-0819-468C-90E5-97245453F505}" type="datetime4">
              <a:rPr lang="de-DE" smtClean="0"/>
              <a:t>3. Jul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D1249C-E538-4A32-BE76-858D924D54CE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6629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8DED978-10E9-4C45-9AF8-D5BAE20E9625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518320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66A3-1F04-42F3-AA58-C900F327C550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3380881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E9EB05F1-EE7A-473E-83D8-EA42061575E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43442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9777B3E4-5C84-4ECF-BB4F-827EB0A4BCA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6AB4FA3-3D7D-467C-A9E2-F0AD355E8FF7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D2A2CB64-6021-4726-9A47-28E9CA4542AC}" type="datetime4">
              <a:rPr lang="de-DE" smtClean="0"/>
              <a:t>3. Jul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23FC128-F0EB-4C08-9299-AE8CF288858C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14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DC0976-C523-4842-8BFE-0A9CBF3B503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18318" y="1631837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BDED6D-1B2A-4452-8222-8F9BFC9EAEF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18318" y="4006299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2844" y="1631837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402158F7-C9FB-49D1-A70D-91C0BFCA16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FDD6406-4BCE-49C6-9930-2BBBDB55DDC1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9C925F69-B5D8-4FB5-93AA-F9AF88E20B2E}" type="datetime4">
              <a:rPr lang="de-DE" smtClean="0"/>
              <a:t>3. Jul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FA17DC-A574-4B2C-9825-B9FB8488632B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6544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8B81FA6-341F-4F98-BDCB-E4F6B6D12B4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19180E3-3297-4CBF-9A1C-BF98BA2B751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8AD5A654-A7AA-4BE0-BEE4-79B9D17A50A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943665-7B85-4275-8A8C-35729DEFB6A6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62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Bildfolie |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E207224-BD49-486F-AD1A-8E3330BDCF5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103918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F9229CDC-3BC6-41B6-92A7-3D626B3207F0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7019CAF-952D-4F3E-8D6F-25ACB42A0F4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BD66A5F-8890-45C7-AFA2-FBAFE51EAA5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18319" y="1631837"/>
            <a:ext cx="5433219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776CE-C715-4BB6-9753-D24EE139A4F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71538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2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FA2D9FE-5416-445D-999A-5E09BE4B77B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502611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758C8A2-BB5A-4369-8E47-1B3AD76831C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2847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3A890A-9CCC-4136-9288-897A93AE1F0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3918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cxnSp>
        <p:nvCxnSpPr>
          <p:cNvPr id="20" name="Gerade Verbindung 71">
            <a:extLst>
              <a:ext uri="{FF2B5EF4-FFF2-40B4-BE49-F238E27FC236}">
                <a16:creationId xmlns:a16="http://schemas.microsoft.com/office/drawing/2014/main" id="{DCD48792-2155-489C-A782-DE9270EDD7B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62FD86-F3E7-4444-A66E-F5DC528E3073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9179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9" name="Gerade Verbindung 71">
            <a:extLst>
              <a:ext uri="{FF2B5EF4-FFF2-40B4-BE49-F238E27FC236}">
                <a16:creationId xmlns:a16="http://schemas.microsoft.com/office/drawing/2014/main" id="{B373B185-DA03-4F17-9BE9-B716E16FE702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1578027-2A9A-485E-94CA-26294C7CB32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2C0F8EF-24A8-485F-AAF4-B9275B071EB6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1" name="Gerade Verbindung 71">
            <a:extLst>
              <a:ext uri="{FF2B5EF4-FFF2-40B4-BE49-F238E27FC236}">
                <a16:creationId xmlns:a16="http://schemas.microsoft.com/office/drawing/2014/main" id="{D754BE1D-D807-41C3-AF04-11BE8305EB34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4DA190-BDAA-4CB1-8024-FA9327187178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7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A4E8199-7A92-4A66-8124-B13B4C01473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379392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507CC524-2144-4589-B013-A85FB1062C25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61F6D30-1E0B-46ED-9FBA-4F7AF9D857E8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782CB96-581D-4138-8E6D-A203BF9A3FAC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3618392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DA597C6-0A4F-4BA3-9D9F-D018CC3CEB6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611773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2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BB86B27-C1F4-4CF2-B198-5D4BFE7A1B2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2846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97C8C8-4903-4649-A7C4-146F348AE41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747784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F952D61-AD88-4D90-9FD3-D4025F3F52B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08857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cxnSp>
        <p:nvCxnSpPr>
          <p:cNvPr id="21" name="Gerade Verbindung 71">
            <a:extLst>
              <a:ext uri="{FF2B5EF4-FFF2-40B4-BE49-F238E27FC236}">
                <a16:creationId xmlns:a16="http://schemas.microsoft.com/office/drawing/2014/main" id="{9F0A74BF-6F8E-4358-901D-D493ED7F05C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838FAD-B7B0-40C8-A084-8E7E552AD989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983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3x Bild, 1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5D5B8114-B5D9-41DA-B646-7C160DB49805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3380880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156DDED1-AB20-4327-B15A-E1C685C766CA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C5EAE03-4888-4842-BFB8-97CBB9A429F0}"/>
              </a:ext>
            </a:extLst>
          </p:cNvPr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870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x Bild,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4E465F10-F1D4-4895-B962-24BDBDE68DC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80880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BD1C0236-2D51-4C28-B36B-9C19644B9B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80880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16" name="Gerade Verbindung 71">
            <a:extLst>
              <a:ext uri="{FF2B5EF4-FFF2-40B4-BE49-F238E27FC236}">
                <a16:creationId xmlns:a16="http://schemas.microsoft.com/office/drawing/2014/main" id="{B80848F1-2462-4919-81BF-023DB1F5427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F2D4D1-58F5-41C5-A804-52C04C2A0B5D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581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x Bild, 2x Text - unter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2844" y="1631837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2E74611-DA65-4DA5-8289-B430E76A77A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18318" y="4006299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7F304551-C66B-4CDC-802C-E89380C7CAF2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0C0F5E-7238-4B4A-AC7B-126DDC533F68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15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Ex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501BEDEB-A8AE-4EFD-9CDF-207454EBAE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D7F978A2-D352-4AAC-BEB1-0402A13EE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9" y="5139395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9D058BB7-35BD-4743-A2CE-335778ABA86A}"/>
              </a:ext>
            </a:extLst>
          </p:cNvPr>
          <p:cNvCxnSpPr>
            <a:cxnSpLocks/>
          </p:cNvCxnSpPr>
          <p:nvPr/>
        </p:nvCxnSpPr>
        <p:spPr>
          <a:xfrm>
            <a:off x="518319" y="4887206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22">
            <a:extLst>
              <a:ext uri="{FF2B5EF4-FFF2-40B4-BE49-F238E27FC236}">
                <a16:creationId xmlns:a16="http://schemas.microsoft.com/office/drawing/2014/main" id="{89ECB648-6558-4C1A-B652-7EF5CAECC96D}"/>
              </a:ext>
            </a:extLst>
          </p:cNvPr>
          <p:cNvCxnSpPr>
            <a:cxnSpLocks/>
          </p:cNvCxnSpPr>
          <p:nvPr userDrawn="1"/>
        </p:nvCxnSpPr>
        <p:spPr>
          <a:xfrm>
            <a:off x="518319" y="6390694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Datumsplatzhalter 1">
            <a:extLst>
              <a:ext uri="{FF2B5EF4-FFF2-40B4-BE49-F238E27FC236}">
                <a16:creationId xmlns:a16="http://schemas.microsoft.com/office/drawing/2014/main" id="{2A4B3BE6-913A-4465-BEEB-46F60DD5DA8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5937" y="4626564"/>
            <a:ext cx="1153008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7AB30B11-C5E5-4B58-8B44-A7D386B62184}" type="datetime4">
              <a:rPr lang="de-DE" smtClean="0"/>
              <a:t>3. Juli 2025</a:t>
            </a:fld>
            <a:endParaRPr lang="de-DE"/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B9B08A74-6918-4896-B3CC-5EC9B14AF7AF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10CDC35F-3363-4C6A-800A-D19612163477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C0943440-DDFE-469F-B9B5-0E58AD6A92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185C30C-099F-4E61-ABB9-CDE19474EC5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2665B96F-96D0-4AFB-989F-365519FA8C38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A72BC813-A3E2-4DFF-A52D-0322177253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EF28719C-6C46-425F-8047-859630BEDBC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4D83414-AF9D-4E67-869D-417D60D91887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2C52F9F0-652B-45E8-95BB-71427B24CA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5837572-3495-4B31-AED9-21AC0EEC9FED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CEBE2F24-DC34-4248-9FDD-4B998A1B05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40A74123-125F-4A91-996F-8CA721E84DE2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5D3FB217-A7F1-4465-9D59-77BCEB055C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4935C03B-E9A2-4DE0-931D-CD9D14E48AE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351DE1A0-FBFF-46D0-8348-2048EF4045D8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02FD3DF8-3D25-40DA-B56C-2DBFAE084507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0F0F86A8-95B3-4BD2-B06D-9BCD7756ABF4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18" name="Gerader Verbinder 117">
                <a:extLst>
                  <a:ext uri="{FF2B5EF4-FFF2-40B4-BE49-F238E27FC236}">
                    <a16:creationId xmlns:a16="http://schemas.microsoft.com/office/drawing/2014/main" id="{8E38CADC-1D31-4B5D-98B0-9CABB15624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BA01828F-49E3-4DD1-8A18-488DC0EC04E9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15" name="Gerader Verbinder 114">
                <a:extLst>
                  <a:ext uri="{FF2B5EF4-FFF2-40B4-BE49-F238E27FC236}">
                    <a16:creationId xmlns:a16="http://schemas.microsoft.com/office/drawing/2014/main" id="{7F807E15-F6EF-4990-B8E4-5280D9190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DDBAFB5F-C33D-4EFE-844A-DF67DBF78A9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C12AE862-D696-42EE-909F-D64C492CBCCA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E0FEF2C4-C2F3-4A23-8C07-B061DD001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5D8511BC-B7F5-4BC6-A815-5C125B4F276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DA380AA3-7C1A-45EC-8A6C-CBD47FB056A1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8C5A3431-647C-47F6-BCEE-D6F56C64EE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2" name="Textfeld 111">
                <a:extLst>
                  <a:ext uri="{FF2B5EF4-FFF2-40B4-BE49-F238E27FC236}">
                    <a16:creationId xmlns:a16="http://schemas.microsoft.com/office/drawing/2014/main" id="{B736E92D-E681-43BE-A592-348085922C9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C638EB2F-3EE6-4C30-8EA4-8D94CA2AAB13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109" name="Gerader Verbinder 108">
                <a:extLst>
                  <a:ext uri="{FF2B5EF4-FFF2-40B4-BE49-F238E27FC236}">
                    <a16:creationId xmlns:a16="http://schemas.microsoft.com/office/drawing/2014/main" id="{83505431-2E6D-4471-A2FB-429BF6CAF3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73E21654-6ACF-49D3-9B56-11E08AB624A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C6A401CF-3A9B-4C6E-A900-71B9790430DC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107" name="Gerader Verbinder 106">
                <a:extLst>
                  <a:ext uri="{FF2B5EF4-FFF2-40B4-BE49-F238E27FC236}">
                    <a16:creationId xmlns:a16="http://schemas.microsoft.com/office/drawing/2014/main" id="{3A04E890-52B7-4B48-89D4-BB93B4B54B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CD3C7EB7-2F3F-42D0-A4E9-D77AA3C72338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E77897C7-512E-9BBE-0513-C8232D5D72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083" y="188530"/>
            <a:ext cx="2930662" cy="12235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0C9D569-B591-3337-3187-B068A67AC9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36" b="30199"/>
          <a:stretch/>
        </p:blipFill>
        <p:spPr>
          <a:xfrm>
            <a:off x="8938083" y="188530"/>
            <a:ext cx="3105110" cy="139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064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- Textfolie | 2x Bild, 2x Text -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870DAB1F-D24A-4A98-83A6-AFA36A6FC73E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6242844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A7040DB9-A329-4F37-A50E-67E566A8CCC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518318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C6865517-E7AB-479B-B301-361C9726E50F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1524C14-E513-43FD-AAD7-E2FF2C1AC8FE}"/>
              </a:ext>
            </a:extLst>
          </p:cNvPr>
          <p:cNvSpPr>
            <a:spLocks noGrp="1"/>
          </p:cNvSpPr>
          <p:nvPr>
            <p:ph type="sldNum" sz="quarter" idx="77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6637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| Freie Ge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5D2E05C-DF1C-4C7B-B878-BC14435387A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7DF7DF9F-1FE6-4E11-A1E5-13620458417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0D9C1F-041C-4A29-8F89-6A9A0C45C77E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9594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rafik 76">
            <a:extLst>
              <a:ext uri="{FF2B5EF4-FFF2-40B4-BE49-F238E27FC236}">
                <a16:creationId xmlns:a16="http://schemas.microsoft.com/office/drawing/2014/main" id="{D3DB975A-CF9E-4989-8391-5B4E38D67AD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54" t="9897" r="11650" b="5372"/>
          <a:stretch/>
        </p:blipFill>
        <p:spPr>
          <a:xfrm>
            <a:off x="1234845" y="4475255"/>
            <a:ext cx="1309823" cy="1575102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B3215F83-2EC1-4CAC-953F-78BF5F10A0D6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C69B38E-3636-4F61-BC0D-11B8EC2035C3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7FA8B8E5-9220-4F6C-86EE-E001B5D669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1BC8D282-94B0-4E74-9FCB-AC7D976B4F4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64951DA6-F963-4A0C-96A1-7528EEA0610B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B609D040-0754-4342-B1E2-54FC0A4E1B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D431B656-0234-4F51-AC65-009A508354B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EBE74C80-4D3E-4301-A865-31956C228E22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A7686FD8-C641-4673-95C0-F05C1B7186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77525E5E-2FC8-4E8B-84DF-E406B4374875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51EE6560-8FBF-4C36-90A5-9F6D9B6B860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B419D3BC-DFC0-4A03-922D-32827ABA0832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744B679A-6F28-4AFB-8BF5-4305049195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F34B0ECC-B5B1-4DA1-A3F1-4B04F49D3CB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FCB7BD6C-26FB-4151-A97E-8A2A947FCB9E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36CAC4A9-FA2E-4A55-9CB1-1DB0EAAB5442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FB11088B-3E40-4E9D-8C60-2FCA0E75B9A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04" name="Gerader Verbinder 103">
                <a:extLst>
                  <a:ext uri="{FF2B5EF4-FFF2-40B4-BE49-F238E27FC236}">
                    <a16:creationId xmlns:a16="http://schemas.microsoft.com/office/drawing/2014/main" id="{F8EA552B-BF98-4042-A8DE-B538FCB262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BA93755-D1C1-4606-B5AE-6C011A947E57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1" name="Gerader Verbinder 100">
                <a:extLst>
                  <a:ext uri="{FF2B5EF4-FFF2-40B4-BE49-F238E27FC236}">
                    <a16:creationId xmlns:a16="http://schemas.microsoft.com/office/drawing/2014/main" id="{AE32DE81-FA6C-4CE0-ADE2-8627D3B996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267B9C0F-5D3A-4581-AE5D-1D5AF24A644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CEAF86A3-26D5-433B-A74B-662B221E11C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3A630D2D-4125-4640-9CD0-6ED0841A91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B2E90D2A-74C5-49E0-B7F1-0B995DAB3D7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1A7BDCCA-7560-4EA4-8604-D1723EC217FC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C0AB8F62-5467-483E-A4EA-591E34AF53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4AC61C99-FAD6-454A-9C8A-F818C313B6C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9A270D1F-5B98-4B34-9BC0-F608802F63F2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5" name="Gerader Verbinder 94">
                <a:extLst>
                  <a:ext uri="{FF2B5EF4-FFF2-40B4-BE49-F238E27FC236}">
                    <a16:creationId xmlns:a16="http://schemas.microsoft.com/office/drawing/2014/main" id="{C7247493-8BA4-42C0-91A8-66C4F2F0C9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5F6E0F25-8820-4F75-8A2A-305DB28489B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E5CB483E-9488-4E5C-9E7E-D3D41CC665F3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2641CCA9-84B5-48C5-857D-4DC9DA045D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57664E9D-1E21-42C1-BE41-432F0E9603C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3677DBBD-8901-44E7-BC97-5FAE134425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57" y="3018179"/>
            <a:ext cx="2887880" cy="120569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4CC3BC4-0DE3-F617-D31A-89BB790899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212" y="835851"/>
            <a:ext cx="863570" cy="86357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DD2BBF3-53DC-AED0-3A65-B6E751B725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047" y="4939758"/>
            <a:ext cx="2098995" cy="64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6259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629EA-DE05-4C01-9F06-D25F1A8C2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C0B651E-82FF-4E81-8275-1648A55358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D2813B-4BE8-4882-B0FA-05AA2860C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C7B495-015B-46DF-B926-A0D118D9B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A904B3-5160-4A42-BE05-3A7A1F9AD06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4897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8E4AE3-D9DB-46CF-9345-9B80F5730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53D208-D124-450F-9690-26785CB487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C32FE4-55F3-41FA-94A6-AC9B799C9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7B752-09EC-450F-9C4A-4B807178D026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D6BC56-0ABB-4258-946C-D4D98A4A6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68463B-F3C7-443C-BF22-ACB55E431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49761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64130F-03E2-491A-B826-42C1CAB49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A6C4A3-00DE-4441-AC30-3250FF14A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FE9E15-EA9D-48FF-A897-1A9679D6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8731D-CDEE-4903-9AB5-6442E0FA9D0B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B43A78-170E-49B2-9A95-42CEDEDE8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79EEF3-75A5-42E5-A3F1-F3C7E72EC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721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E4AF0A-28FA-4A23-AE73-D135AFB0A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0DD9BC-EDE6-4EB6-9228-EE92CB3BC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B01E5C-26D9-4B01-995A-D7066A85C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4E3E2-A545-49C6-A14E-65F58F1E1A3C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7A3444-6C39-4F40-8B1F-A7979F08B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FA6340-AF15-4A72-AD5D-1E6019E2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01609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C61492-C9A9-4B90-9CD6-1228F3ED8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F15B62-1AF0-4CB3-9A98-BE537D11BD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DFCE06-6A3D-4A84-9FDC-CA92794524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97094D-B0DB-42EA-88B4-D3E9FF50E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1B2B5-9650-455D-9DF5-46BB81D2E3D6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D3D3E-E602-4446-B94B-CBBDC63E1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75F61A-6FBE-4C19-B20E-42236C1D3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565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2ADA5C-EA6C-44B5-9F01-C04A48B5C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DEBE49-28CB-4437-8EAA-E384A97552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2D719CE-F787-4E76-9B96-583ADC03EC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045919-4F15-4C81-8DE1-F688261B6D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B90C8C-DC91-4D4B-BF8D-CF20DF3789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6AB3D94-43DF-4AC1-9941-8ACD4174B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04AA1-C71F-48D6-ACBD-88ACA60F196B}" type="datetime4">
              <a:rPr lang="de-DE" smtClean="0"/>
              <a:t>3. Juli 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3E04DAF-CA16-4870-A9F2-9FDC340EF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1F30E33-5A09-4818-92EB-F1FA6E378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2091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4B9398-63F1-43FA-8A33-77C3452B6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74D093-D852-413F-AFBB-01A5E5A52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FABD3-5069-4195-9AAA-8016D1AB4489}" type="datetime4">
              <a:rPr lang="de-DE" smtClean="0"/>
              <a:t>3. Juli 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D4E05E-7350-4974-BC18-3BA7566FC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C596C5-2603-484C-8636-1D1B68E7C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206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810713E-3804-4787-B0E9-28105C274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9725" y="4965080"/>
            <a:ext cx="322859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Zielgrupp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E062E4E-FEC5-4007-94FA-E26B3F377E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9725" y="5141291"/>
            <a:ext cx="3228592" cy="697105"/>
          </a:xfrm>
        </p:spPr>
        <p:txBody>
          <a:bodyPr wrap="square">
            <a:no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Ziel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B988E013-D7EA-4250-95FD-1943849D4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6107" y="4965080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CFD2F7D-2405-47CC-ADE1-89F4F050B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6107" y="5141292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+mn-lt"/>
                <a:cs typeface="ZEISS Frutiger Next W1G Lt" panose="020B0302030202020203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0FD81930-1AB6-453C-8CF7-2246B3482FB4}"/>
              </a:ext>
            </a:extLst>
          </p:cNvPr>
          <p:cNvCxnSpPr>
            <a:cxnSpLocks/>
          </p:cNvCxnSpPr>
          <p:nvPr/>
        </p:nvCxnSpPr>
        <p:spPr>
          <a:xfrm>
            <a:off x="509610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22">
            <a:extLst>
              <a:ext uri="{FF2B5EF4-FFF2-40B4-BE49-F238E27FC236}">
                <a16:creationId xmlns:a16="http://schemas.microsoft.com/office/drawing/2014/main" id="{F4D114BB-7210-400E-8A65-8B658E626712}"/>
              </a:ext>
            </a:extLst>
          </p:cNvPr>
          <p:cNvCxnSpPr>
            <a:cxnSpLocks/>
          </p:cNvCxnSpPr>
          <p:nvPr/>
        </p:nvCxnSpPr>
        <p:spPr>
          <a:xfrm>
            <a:off x="5096107" y="5577761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2">
            <a:extLst>
              <a:ext uri="{FF2B5EF4-FFF2-40B4-BE49-F238E27FC236}">
                <a16:creationId xmlns:a16="http://schemas.microsoft.com/office/drawing/2014/main" id="{71C425F1-6606-4095-917F-0A5EABB8E022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22">
            <a:extLst>
              <a:ext uri="{FF2B5EF4-FFF2-40B4-BE49-F238E27FC236}">
                <a16:creationId xmlns:a16="http://schemas.microsoft.com/office/drawing/2014/main" id="{929C78D0-9AC5-4AD0-BA80-D1DBD8376211}"/>
              </a:ext>
            </a:extLst>
          </p:cNvPr>
          <p:cNvCxnSpPr>
            <a:cxnSpLocks/>
          </p:cNvCxnSpPr>
          <p:nvPr userDrawn="1"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B7AC5EDF-D9FB-40CE-BD44-B44AB9AF273D}"/>
              </a:ext>
            </a:extLst>
          </p:cNvPr>
          <p:cNvCxnSpPr>
            <a:cxnSpLocks/>
          </p:cNvCxnSpPr>
          <p:nvPr userDrawn="1"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B3858EA-1E2B-40BB-88B6-70384BC3466D}"/>
              </a:ext>
            </a:extLst>
          </p:cNvPr>
          <p:cNvSpPr txBox="1"/>
          <p:nvPr userDrawn="1"/>
        </p:nvSpPr>
        <p:spPr>
          <a:xfrm>
            <a:off x="518318" y="4965080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ielgruppe: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3F235B6-8F15-44AD-A35D-04C9940BCC70}"/>
              </a:ext>
            </a:extLst>
          </p:cNvPr>
          <p:cNvSpPr txBox="1"/>
          <p:nvPr userDrawn="1"/>
        </p:nvSpPr>
        <p:spPr>
          <a:xfrm>
            <a:off x="518318" y="5141292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iel:</a:t>
            </a:r>
          </a:p>
        </p:txBody>
      </p:sp>
      <p:sp>
        <p:nvSpPr>
          <p:cNvPr id="56" name="Datumsplatzhalter 1">
            <a:extLst>
              <a:ext uri="{FF2B5EF4-FFF2-40B4-BE49-F238E27FC236}">
                <a16:creationId xmlns:a16="http://schemas.microsoft.com/office/drawing/2014/main" id="{3454106C-2ACB-473E-BEB9-6CD72BA5D955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178208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00D4B15A-12AA-4F65-A681-0A2A5378D5B1}" type="datetime4">
              <a:rPr lang="de-DE" smtClean="0"/>
              <a:t>3. Juli 2025</a:t>
            </a:fld>
            <a:endParaRPr lang="de-DE"/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DE3F12D7-D968-45FF-97C5-EE698332055B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2FDE1AE-6C26-4AEA-B813-968E3FA84E45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391E1ABA-279E-42BE-A471-0665792380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A31CB283-6586-422E-A364-5B59963EA10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0DF1696E-3E10-42C0-87B2-EC94416ABDD7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BE529AD2-E754-43F8-9BF1-A71DDC9770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61F84B31-21D7-4645-94FB-2E2C3D08755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7666289F-95B3-42CA-9894-E8382EEDD363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A283C2BC-ADCB-4686-B92F-49DD699B61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C03614CA-20E4-461C-8B07-C939BFB72E28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64268DC-D962-4CCE-9B3A-8E490709CE6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BA562E17-33AB-4950-A73C-23DB7258315E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5980CC73-B1B3-400D-B426-6EB953D992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5D103127-8A82-4D11-A5CE-BF0E3A73AFF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5CDD8002-7AD1-416E-B505-410900BC2903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2298FC9-D43F-401F-B1B1-71F1D9452654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B2A35812-FBAC-40B1-BB5C-14BE0906D3A6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23" name="Gerader Verbinder 122">
                <a:extLst>
                  <a:ext uri="{FF2B5EF4-FFF2-40B4-BE49-F238E27FC236}">
                    <a16:creationId xmlns:a16="http://schemas.microsoft.com/office/drawing/2014/main" id="{BBD32DB6-A18D-49E6-873F-487940E302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14DBCEAA-78E9-491F-9AF2-E2669BB34E3F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20" name="Gerader Verbinder 119">
                <a:extLst>
                  <a:ext uri="{FF2B5EF4-FFF2-40B4-BE49-F238E27FC236}">
                    <a16:creationId xmlns:a16="http://schemas.microsoft.com/office/drawing/2014/main" id="{E1F04B3A-51E9-4420-81F8-033430342D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1" name="Textfeld 120">
                <a:extLst>
                  <a:ext uri="{FF2B5EF4-FFF2-40B4-BE49-F238E27FC236}">
                    <a16:creationId xmlns:a16="http://schemas.microsoft.com/office/drawing/2014/main" id="{26FB21A6-6566-4E54-9F20-79BAEEA2A24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CAB92BD1-5C1A-4FE9-A42A-5E490896E829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18" name="Gerader Verbinder 117">
                <a:extLst>
                  <a:ext uri="{FF2B5EF4-FFF2-40B4-BE49-F238E27FC236}">
                    <a16:creationId xmlns:a16="http://schemas.microsoft.com/office/drawing/2014/main" id="{1359EBEA-50DB-4672-903B-010118452B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Textfeld 118">
                <a:extLst>
                  <a:ext uri="{FF2B5EF4-FFF2-40B4-BE49-F238E27FC236}">
                    <a16:creationId xmlns:a16="http://schemas.microsoft.com/office/drawing/2014/main" id="{72B1BA01-3E35-4B6D-B278-DEFD6AC4F16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0E960B3D-121E-489F-8583-F1A1A12BADC8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116" name="Gerader Verbinder 115">
                <a:extLst>
                  <a:ext uri="{FF2B5EF4-FFF2-40B4-BE49-F238E27FC236}">
                    <a16:creationId xmlns:a16="http://schemas.microsoft.com/office/drawing/2014/main" id="{DDC265A6-1155-4DAB-B5FD-05C71CEACA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1EDB2519-37D8-4181-B6A1-FBC78D49AF5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E7D6D417-2C0A-4171-9090-79BEC182C0E0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2FE163FB-290C-440B-A523-B05DE7CDE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EF1AABF4-52E2-4E0A-AF0B-7DD96FF7601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9031660F-3F40-42E2-A9B2-8B22C61D7700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CE78153C-4DD5-40DA-941B-BF81D7569D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" name="Textfeld 112">
                <a:extLst>
                  <a:ext uri="{FF2B5EF4-FFF2-40B4-BE49-F238E27FC236}">
                    <a16:creationId xmlns:a16="http://schemas.microsoft.com/office/drawing/2014/main" id="{BE5BC182-797A-42A9-A488-DF25F3387444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13716D5F-9793-2331-7ACF-0E7477322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7454C62-4BC1-5EAB-C88B-2AFEA8E327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36" b="30199"/>
          <a:stretch/>
        </p:blipFill>
        <p:spPr>
          <a:xfrm>
            <a:off x="10520198" y="179515"/>
            <a:ext cx="1349016" cy="6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5790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81714DB-9690-4B9C-AE71-D69C194A8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FEBE3-C9EC-4CCE-B552-6508001DE3C7}" type="datetime4">
              <a:rPr lang="de-DE" smtClean="0"/>
              <a:t>3. Juli 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6C72EA-DE60-466F-AE20-8773B06AD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4CBC0E-37BD-40AE-98B2-59274338C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286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6D2307-1BB1-4D6C-A036-CD30D42B7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F6C89B-561E-4500-84E2-B35A914F6C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01CC53-78F7-4D58-BDA7-841FBE244D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7156A7-1F4A-44B4-81C3-B22157C17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AFFC4-A85B-40D8-815C-2736C44950C1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7E7222-50EF-4776-B29A-D45DB2217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FEBCBE-640E-4628-A4F1-E20F09EFB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336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A8C782-4265-4F8B-93FA-7CF8BE7F4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5E05E7B-42D8-4BA6-A5FA-1CD2B0D917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FDADFA-A26F-45D8-8103-AD4B63F3D5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7C7AD2-69E3-463C-9A6D-9BFBC2DDC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618044-4876-4979-959F-D033556A73FB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5FB86C2-F937-4060-A604-CFACE7611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7A6F5E-3BFB-40B2-B004-A2E1BE0C9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33553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4C8553-049C-4B6E-AEB5-E7FFA5699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DFCB248-C750-4805-B315-6A8A12EDC6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43F2A-EAA1-48CF-BA39-62E89142D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91E3A-FFA6-4D9B-B566-B93557A04D79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384F6-0AFA-4F60-B106-014C55460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352746-02A0-4E10-9E38-06B590D0A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56638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9C763DD-34E5-402E-8080-C9A589B0FF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514266B-F91F-4BE9-BB03-B360EB2297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199DCB2-0AF4-47D6-AADA-E7AD42265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C71D2-62CE-450F-8772-B6759F3C0EFD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BEB7FA-BE28-4072-BA2C-D90E10735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E06519-F145-4279-B3D6-C1BF22228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48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F2C8B787-6095-434A-9C6C-78A5108C8B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EDBC396B-1D3D-4E70-9A15-834458035E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6496151-4C59-4CA7-9171-93A5E6FD0E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E872B50-F58D-4049-829B-5D4FC3DD44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9" name="Textplatzhalter 12">
            <a:extLst>
              <a:ext uri="{FF2B5EF4-FFF2-40B4-BE49-F238E27FC236}">
                <a16:creationId xmlns:a16="http://schemas.microsoft.com/office/drawing/2014/main" id="{365BC96D-ED2D-464E-BC70-A23FF37E8D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B065DB6D-E88A-4417-88AE-F3BDA7535DF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AEB6ADF8-03FE-4219-AC3D-60860EB9B1E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39606005-B38E-44BD-9756-AFE8B8BBACA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552BBB7B-042B-4EB3-835B-819E155C7D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70595"/>
            <a:ext cx="946800" cy="539942"/>
          </a:xfrm>
          <a:noFill/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794860D3-268B-4144-8AB0-52365C4C9C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52545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7227C327-0142-4EA6-AEFB-173EFCBAE0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9352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C5438030-4C98-4CAF-B3C0-CE976BED34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234495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16E2D676-DB17-4B9A-AA0D-A3F245644F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7547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79FCABAB-1D64-41D4-9EB2-F6F60A885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16447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BBCB46D3-00EC-450B-A636-FB52817DBCD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0" y="231157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9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9366EC2-D105-48A7-B8E4-3E5DD841504A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476DA324-C85F-47E6-B523-9F944315266C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267479-09D9-4A9B-BD11-49CBF9C1E4A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1AF8F226-D83E-4A8A-A0F2-15D5C1B6E3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6FD107AB-96B0-4BD6-AA8D-8799FA2AFB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260CEC10-1DA2-4B47-96EB-E91F197E94C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3CB1FA78-3D03-4648-8CF3-239710E730A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B8CD5CD3-C498-4463-935E-A1A5B7094D4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7" name="Textplatzhalter 27">
            <a:extLst>
              <a:ext uri="{FF2B5EF4-FFF2-40B4-BE49-F238E27FC236}">
                <a16:creationId xmlns:a16="http://schemas.microsoft.com/office/drawing/2014/main" id="{F12392E6-1DEE-4FFE-AACA-C660C921C8E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9C2CDE80-05B4-473F-86D1-7AF509E7F16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66" name="Textplatzhalter 27">
            <a:extLst>
              <a:ext uri="{FF2B5EF4-FFF2-40B4-BE49-F238E27FC236}">
                <a16:creationId xmlns:a16="http://schemas.microsoft.com/office/drawing/2014/main" id="{6F050946-F4C0-4031-9035-83228F2CD33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7" name="Textplatzhalter 27">
            <a:extLst>
              <a:ext uri="{FF2B5EF4-FFF2-40B4-BE49-F238E27FC236}">
                <a16:creationId xmlns:a16="http://schemas.microsoft.com/office/drawing/2014/main" id="{67A6646C-34B1-41AF-974A-7701924B8F1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68" name="Textplatzhalter 27">
            <a:extLst>
              <a:ext uri="{FF2B5EF4-FFF2-40B4-BE49-F238E27FC236}">
                <a16:creationId xmlns:a16="http://schemas.microsoft.com/office/drawing/2014/main" id="{F0A6D2DF-DEFC-4205-A445-87CB0A2F59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F6E464A8-67B0-4D57-BDEA-D593750802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70" name="Textplatzhalter 27">
            <a:extLst>
              <a:ext uri="{FF2B5EF4-FFF2-40B4-BE49-F238E27FC236}">
                <a16:creationId xmlns:a16="http://schemas.microsoft.com/office/drawing/2014/main" id="{AE18289F-C070-4C49-BD27-4B3B71C4F2B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71" name="Textplatzhalter 27">
            <a:extLst>
              <a:ext uri="{FF2B5EF4-FFF2-40B4-BE49-F238E27FC236}">
                <a16:creationId xmlns:a16="http://schemas.microsoft.com/office/drawing/2014/main" id="{513FBBB8-BEE2-4912-8122-8E23A86C57B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72" name="Textplatzhalter 27">
            <a:extLst>
              <a:ext uri="{FF2B5EF4-FFF2-40B4-BE49-F238E27FC236}">
                <a16:creationId xmlns:a16="http://schemas.microsoft.com/office/drawing/2014/main" id="{A4D1F226-2C6E-442A-954D-E2B74379D67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3291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9419B69F-23AC-4F0C-AE67-A97725504D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7" name="Textplatzhalter 12">
            <a:extLst>
              <a:ext uri="{FF2B5EF4-FFF2-40B4-BE49-F238E27FC236}">
                <a16:creationId xmlns:a16="http://schemas.microsoft.com/office/drawing/2014/main" id="{87C23388-79A6-4550-944A-CEFD3A4576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8" name="Textplatzhalter 12">
            <a:extLst>
              <a:ext uri="{FF2B5EF4-FFF2-40B4-BE49-F238E27FC236}">
                <a16:creationId xmlns:a16="http://schemas.microsoft.com/office/drawing/2014/main" id="{DD8CFE88-61CB-4244-8ECE-D7766410BB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9" name="Textplatzhalter 12">
            <a:extLst>
              <a:ext uri="{FF2B5EF4-FFF2-40B4-BE49-F238E27FC236}">
                <a16:creationId xmlns:a16="http://schemas.microsoft.com/office/drawing/2014/main" id="{FF79CEE5-E40A-4D93-B783-AABDC5F5C7B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0" name="Textplatzhalter 12">
            <a:extLst>
              <a:ext uri="{FF2B5EF4-FFF2-40B4-BE49-F238E27FC236}">
                <a16:creationId xmlns:a16="http://schemas.microsoft.com/office/drawing/2014/main" id="{E25563C2-F390-41DF-8B66-6FE3F35B758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1" name="Textplatzhalter 12">
            <a:extLst>
              <a:ext uri="{FF2B5EF4-FFF2-40B4-BE49-F238E27FC236}">
                <a16:creationId xmlns:a16="http://schemas.microsoft.com/office/drawing/2014/main" id="{170A561E-6932-40A5-BF4F-8E915E25BC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2" name="Textplatzhalter 12">
            <a:extLst>
              <a:ext uri="{FF2B5EF4-FFF2-40B4-BE49-F238E27FC236}">
                <a16:creationId xmlns:a16="http://schemas.microsoft.com/office/drawing/2014/main" id="{65D0B265-DECE-417F-AB3D-7A87574E2F9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3" name="Textplatzhalter 12">
            <a:extLst>
              <a:ext uri="{FF2B5EF4-FFF2-40B4-BE49-F238E27FC236}">
                <a16:creationId xmlns:a16="http://schemas.microsoft.com/office/drawing/2014/main" id="{157B6548-27DE-4EC0-913F-C14F49FA7AF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480C8321-1D72-4546-ACBC-6E0787AC9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09040"/>
            <a:ext cx="12192000" cy="663053"/>
          </a:xfrm>
          <a:solidFill>
            <a:srgbClr val="7F7F7F"/>
          </a:solidFill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F113A3A0-3CB1-4582-BBE4-5170002C0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9099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5E404E45-039F-4BD3-B00C-A7311E52D5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3196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E15F7779-9874-43F8-9135-D5BE311D3A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17294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+mn-lt"/>
                <a:cs typeface="ZEISS Frutiger Next W1G Medium" panose="020B0602030202020203" pitchFamily="34" charset="0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50" name="Textplatzhalter 12">
            <a:extLst>
              <a:ext uri="{FF2B5EF4-FFF2-40B4-BE49-F238E27FC236}">
                <a16:creationId xmlns:a16="http://schemas.microsoft.com/office/drawing/2014/main" id="{5F9C8197-1276-4D10-B7B9-75BFFF1BA0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139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+mn-lt"/>
                <a:cs typeface="ZEISS Frutiger Next W1G Medium" panose="020B0602030202020203" pitchFamily="34" charset="0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51" name="Textplatzhalter 12">
            <a:extLst>
              <a:ext uri="{FF2B5EF4-FFF2-40B4-BE49-F238E27FC236}">
                <a16:creationId xmlns:a16="http://schemas.microsoft.com/office/drawing/2014/main" id="{409AAE60-F87F-43DF-9C66-F204272E7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454892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57" name="Textplatzhalter 12">
            <a:extLst>
              <a:ext uri="{FF2B5EF4-FFF2-40B4-BE49-F238E27FC236}">
                <a16:creationId xmlns:a16="http://schemas.microsoft.com/office/drawing/2014/main" id="{EBD248D3-CAEC-4C8E-885B-E957F3B62F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22500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inführung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9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Quelle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Software und Ausblick 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3: EMV 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2: Schaltplanerläuterung 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Was ist ein Oszilloskop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1: Konzept und Design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F805B4-76E3-4826-9409-49DD32B8BDF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F4D5BA-CD6F-4502-A501-018ECBEDA881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3" name="Textplatzhalter 27">
            <a:extLst>
              <a:ext uri="{FF2B5EF4-FFF2-40B4-BE49-F238E27FC236}">
                <a16:creationId xmlns:a16="http://schemas.microsoft.com/office/drawing/2014/main" id="{0BF1CB17-6946-48DD-86FB-32D08D0822B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45" name="Textplatzhalter 27">
            <a:extLst>
              <a:ext uri="{FF2B5EF4-FFF2-40B4-BE49-F238E27FC236}">
                <a16:creationId xmlns:a16="http://schemas.microsoft.com/office/drawing/2014/main" id="{7343DC8B-15EF-4462-8F1D-8B232DB153C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4</a:t>
            </a:r>
          </a:p>
        </p:txBody>
      </p:sp>
      <p:sp>
        <p:nvSpPr>
          <p:cNvPr id="46" name="Textplatzhalter 27">
            <a:extLst>
              <a:ext uri="{FF2B5EF4-FFF2-40B4-BE49-F238E27FC236}">
                <a16:creationId xmlns:a16="http://schemas.microsoft.com/office/drawing/2014/main" id="{0256E43A-F609-4966-88A3-E764C8E933A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-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D314D9B0-545E-4726-9C7D-4B41F1DCC4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5B404D5A-25EC-428D-A164-EDF9F1A1F29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0B3B5724-A642-4D4A-A3DC-96853A6CC70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6B941CAD-84CE-4A6D-93A1-9E846EDD3F7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59" name="Textplatzhalter 27">
            <a:extLst>
              <a:ext uri="{FF2B5EF4-FFF2-40B4-BE49-F238E27FC236}">
                <a16:creationId xmlns:a16="http://schemas.microsoft.com/office/drawing/2014/main" id="{5E53BCA1-3B77-4670-BD4C-CCC42A156D7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0" name="Textplatzhalter 27">
            <a:extLst>
              <a:ext uri="{FF2B5EF4-FFF2-40B4-BE49-F238E27FC236}">
                <a16:creationId xmlns:a16="http://schemas.microsoft.com/office/drawing/2014/main" id="{1B2C773C-FA2B-434A-93F1-0569BA6479F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61" name="Textplatzhalter 27">
            <a:extLst>
              <a:ext uri="{FF2B5EF4-FFF2-40B4-BE49-F238E27FC236}">
                <a16:creationId xmlns:a16="http://schemas.microsoft.com/office/drawing/2014/main" id="{558DB475-3747-473C-A159-2E4289E0AB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21-29</a:t>
            </a:r>
          </a:p>
        </p:txBody>
      </p:sp>
      <p:sp>
        <p:nvSpPr>
          <p:cNvPr id="62" name="Textplatzhalter 27">
            <a:extLst>
              <a:ext uri="{FF2B5EF4-FFF2-40B4-BE49-F238E27FC236}">
                <a16:creationId xmlns:a16="http://schemas.microsoft.com/office/drawing/2014/main" id="{789CDBD4-662F-4F1C-883C-56A1B71E837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63" name="Textplatzhalter 27">
            <a:extLst>
              <a:ext uri="{FF2B5EF4-FFF2-40B4-BE49-F238E27FC236}">
                <a16:creationId xmlns:a16="http://schemas.microsoft.com/office/drawing/2014/main" id="{8546BEDF-CD0C-40AC-9D3E-F322DA4C04A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10-19</a:t>
            </a:r>
          </a:p>
        </p:txBody>
      </p:sp>
      <p:sp>
        <p:nvSpPr>
          <p:cNvPr id="64" name="Textplatzhalter 27">
            <a:extLst>
              <a:ext uri="{FF2B5EF4-FFF2-40B4-BE49-F238E27FC236}">
                <a16:creationId xmlns:a16="http://schemas.microsoft.com/office/drawing/2014/main" id="{ADF9A45B-541C-4922-BFDA-4D90116FDC2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65" name="Textplatzhalter 27">
            <a:extLst>
              <a:ext uri="{FF2B5EF4-FFF2-40B4-BE49-F238E27FC236}">
                <a16:creationId xmlns:a16="http://schemas.microsoft.com/office/drawing/2014/main" id="{7BAA1323-B2C4-403E-9999-2B75E7B097C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6-8</a:t>
            </a:r>
          </a:p>
        </p:txBody>
      </p:sp>
    </p:spTree>
    <p:extLst>
      <p:ext uri="{BB962C8B-B14F-4D97-AF65-F5344CB8AC3E}">
        <p14:creationId xmlns:p14="http://schemas.microsoft.com/office/powerpoint/2010/main" val="15305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6">
            <a:extLst>
              <a:ext uri="{FF2B5EF4-FFF2-40B4-BE49-F238E27FC236}">
                <a16:creationId xmlns:a16="http://schemas.microsoft.com/office/drawing/2014/main" id="{FB389B10-F29E-47A3-8BD0-A0132B3B5CE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0" y="3429000"/>
            <a:ext cx="12191985" cy="3429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18319" y="2681949"/>
            <a:ext cx="9670705" cy="344710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6E836B88-8EA3-4A7F-B203-70EF11B1F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052513"/>
            <a:ext cx="9670705" cy="1370806"/>
          </a:xfrm>
        </p:spPr>
        <p:txBody>
          <a:bodyPr wrap="square" anchor="b" anchorCtr="0">
            <a:noAutofit/>
          </a:bodyPr>
          <a:lstStyle>
            <a:lvl1pPr>
              <a:lnSpc>
                <a:spcPts val="5000"/>
              </a:lnSpc>
              <a:defRPr sz="4500" b="1"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22572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|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628776"/>
            <a:ext cx="8663775" cy="1962150"/>
          </a:xfrm>
        </p:spPr>
        <p:txBody>
          <a:bodyPr anchor="b" anchorCtr="0">
            <a:noAutofit/>
          </a:bodyPr>
          <a:lstStyle>
            <a:lvl1pPr>
              <a:lnSpc>
                <a:spcPts val="5000"/>
              </a:lnSpc>
              <a:defRPr sz="4500" b="1"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3849556"/>
            <a:ext cx="8663775" cy="1296124"/>
          </a:xfrm>
        </p:spPr>
        <p:txBody>
          <a:bodyPr wrap="square">
            <a:no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8851101-CF90-45DE-817D-DF9BD412A63A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8D2CB68E-0BEE-4444-89BC-9224017D201A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3B55A628-F151-42E2-BBA7-A77BB263AC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5B3ACA54-FBF7-468C-89BF-B92229E0E6A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A985EFA5-C3EC-41F4-BA42-582F6BBB87DC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A53B3EC3-5408-4A64-9457-103627E8E8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AD70F783-A807-4089-AFCC-84B3D36AF8F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5E00F1D3-083C-419C-A05F-6E840773F8C6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73F688A9-A34C-4E99-8443-41FD9DD554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054EA4E0-2D3B-40AF-93E7-C4E69DB886F1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4EAC7821-B6F6-4B00-93DA-718D985BB18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D6D8242D-E611-482B-B644-E20F99E6399A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DEF62B53-F861-4084-A4DA-5B9E4CEC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8A70FEE0-2D07-4BA1-8837-99C7CB1AD7D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BE8C256F-FE6B-489E-8694-29A0B807A6FE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0A234D09-56CF-476A-8C7A-D13F996B21F8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CEFFCD59-9BA6-4C0F-9567-D5111D0929F1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05" name="Gerader Verbinder 104">
                <a:extLst>
                  <a:ext uri="{FF2B5EF4-FFF2-40B4-BE49-F238E27FC236}">
                    <a16:creationId xmlns:a16="http://schemas.microsoft.com/office/drawing/2014/main" id="{AB5C5361-5F0F-482A-8470-DEFDBCA2F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39BBFCE8-6F76-45B8-85A8-68C6D7EE2D83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2" name="Gerader Verbinder 101">
                <a:extLst>
                  <a:ext uri="{FF2B5EF4-FFF2-40B4-BE49-F238E27FC236}">
                    <a16:creationId xmlns:a16="http://schemas.microsoft.com/office/drawing/2014/main" id="{805C3138-5CEA-45F9-94CB-6E51077285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0E527EA5-913D-4F56-8DB9-C5A07506706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A4022789-2EEE-46C0-9954-0D2504BEA68B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675E44F3-0329-4CB1-B406-448DCEDA2A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158BE42F-E470-47C9-A978-3D3BE2B11B0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7A83B29F-BC79-418C-B072-8FAA9F359DC1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6927F45F-C9F3-40DC-ABD3-E8D4F1BE57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A75BB589-CBAF-474E-B7A3-D3483359467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A98127A2-7281-42CA-9A29-487EE392A70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A5CBCAAA-AA82-498E-94D9-7A8D55C9A2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08DED87C-FF0B-4F72-A152-6AAE3EB3FE7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A0CAE587-CBBC-46D7-B547-9410C2855CF1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F07CD434-12AE-423A-AA17-A75970629D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CDE4BFD-2CD6-4C92-95D4-E3D45229292A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CC3594EE-A331-C02C-BCD7-326573851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673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DF64D8-43C9-4659-8FEB-D25E62DE231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1D1B0B-1BA8-4136-AF7B-59A487C42E1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631837"/>
            <a:ext cx="11160000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06BCC614-210D-45D8-85A7-4DB4D413AA8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8749DC-32EC-49E7-98D8-A0B4F1E673A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044AFA5-5C75-4E42-9ABE-DF2BA41D37C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020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2F79FD-685F-4AD0-AD07-F82DCA60004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2A02888-F9A5-43B4-9619-58072584F51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03185D6-5C86-4FFC-9297-944DDAF3BE36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3E45FDC8-FB31-4EFC-A85C-0EDC909275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E81E40B-FF71-446B-8787-2BAEF4637756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8A8CEE53-2C13-4F5F-B622-C12C798F824E}" type="datetime4">
              <a:rPr lang="de-DE" smtClean="0"/>
              <a:t>3. Jul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DBA4F64-898B-4F49-A973-63491C3FBCB1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51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B6DAE0-B0CB-FAC1-1A6E-31A37C737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07319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73" imgH="473" progId="TCLayout.ActiveDocument.1">
                  <p:embed/>
                </p:oleObj>
              </mc:Choice>
              <mc:Fallback>
                <p:oleObj name="think-cell Folie" r:id="rId2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B6DAE0-B0CB-FAC1-1A6E-31A37C737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DF379B-2F7B-4B88-BC16-FA39CEB2C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12336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F28EB-5BBB-48FC-BE84-2AF18E9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5"/>
            <a:ext cx="11160000" cy="44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F8200-DF6F-4A4E-B92D-A281BB940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9274" y="6579170"/>
            <a:ext cx="1085233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500">
                <a:solidFill>
                  <a:schemeClr val="tx1"/>
                </a:solidFill>
                <a:latin typeface="+mn-lt"/>
                <a:cs typeface="ZEISS Frutiger Next W1G Lt" panose="020B0302030202020203" pitchFamily="34" charset="0"/>
              </a:defRPr>
            </a:lvl1pPr>
          </a:lstStyle>
          <a:p>
            <a:fld id="{FC0C3420-A45B-4223-8056-BE47BA32B9EC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475B2-8926-4797-977A-DAFF5A6E3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9204" y="6579170"/>
            <a:ext cx="387928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1500" b="1">
                <a:solidFill>
                  <a:schemeClr val="tx1"/>
                </a:solidFill>
                <a:latin typeface="+mn-lt"/>
                <a:cs typeface="ZEISS Frutiger Next W1G Lt" panose="020B0302030202020203" pitchFamily="34" charset="0"/>
              </a:defRPr>
            </a:lvl1pPr>
          </a:lstStyle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41B6C63-D1F4-4D52-B460-24B79908B8A3}"/>
              </a:ext>
            </a:extLst>
          </p:cNvPr>
          <p:cNvGrpSpPr/>
          <p:nvPr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08382494-4519-4B0A-9102-6CE52486E06E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DF92F63F-CC24-485D-9C52-63C5F1B2F5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314958B9-45FB-434B-A76E-E9105CDE598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55A2AA88-A3CC-4A9C-9D4F-6E13AD9F18B3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CD195ACE-FABB-4451-84B4-DCC9E98399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A7609EAF-FDCF-482B-ABAE-4F42E61E718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BEFA435-A973-4CEA-B2B5-45F218764925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B66456B7-D728-43D9-AF70-5D75514751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9B9AD2F7-1692-4BAE-96CE-9CBB8EB5334F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1DF6E441-F63D-4D0D-B05B-73D855900C2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71031521-32BA-4E76-AF98-5B3C8B219763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65375763-B251-4415-B487-5BE6579DDB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4CCC0796-D7FE-4730-85D3-380F795EC6C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78DE8CA4-3189-4D81-A0B6-20AA7E700A17}"/>
              </a:ext>
            </a:extLst>
          </p:cNvPr>
          <p:cNvGrpSpPr/>
          <p:nvPr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2B29B77A-3B1D-4CDD-BBC2-8A2957422FA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0026B918-E1C7-4F8F-84C7-B47E4032A9A9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93D91228-E8A5-4F30-A7EC-EBF48343A3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F81C8663-719C-4C4D-B021-2AAC833DE83A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CCC1DBBB-3ACE-470E-AE16-5F772149FB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F03CE7B8-9284-495A-A6CE-07BB9E1426C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327D6F70-70F8-4901-BE2E-1DDBE99384F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15679958-F11D-4EBF-B132-E68802D95D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A3A699CD-C727-47D3-875C-A63BD470971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5DA602B9-E93E-4B2C-A368-2968A507AF2F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F40922C8-F57F-415F-A03D-BBAF9D6189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CE34CB4-92D2-4644-B148-8E267D7B4CD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8CE2FF66-3339-4802-9FD3-2E070A63550A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1E35B613-A28D-45F8-BEEB-2D04A80763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Textfeld 77">
                <a:extLst>
                  <a:ext uri="{FF2B5EF4-FFF2-40B4-BE49-F238E27FC236}">
                    <a16:creationId xmlns:a16="http://schemas.microsoft.com/office/drawing/2014/main" id="{D8B60E64-0906-4601-91AB-C915F408DAD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9D613ABC-2FE3-441A-A574-01A6E064D1E3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83CEB50C-046E-498F-A8AA-AC59FC296B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139A9333-EFCD-45EF-92FE-AA170234371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cxnSp>
        <p:nvCxnSpPr>
          <p:cNvPr id="55" name="Gerade Verbindung 68">
            <a:extLst>
              <a:ext uri="{FF2B5EF4-FFF2-40B4-BE49-F238E27FC236}">
                <a16:creationId xmlns:a16="http://schemas.microsoft.com/office/drawing/2014/main" id="{FE38C3DB-4A17-4F65-BB51-220FF4168A2B}"/>
              </a:ext>
            </a:extLst>
          </p:cNvPr>
          <p:cNvCxnSpPr>
            <a:cxnSpLocks/>
          </p:cNvCxnSpPr>
          <p:nvPr userDrawn="1"/>
        </p:nvCxnSpPr>
        <p:spPr>
          <a:xfrm>
            <a:off x="0" y="6517553"/>
            <a:ext cx="12192000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9F0ABF88-D3F9-7514-74E6-D3F3838E9EB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E81C7E3-3F2F-FAF8-CEB2-89621FD8026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36" b="30199"/>
          <a:stretch/>
        </p:blipFill>
        <p:spPr>
          <a:xfrm>
            <a:off x="10520198" y="179515"/>
            <a:ext cx="1349016" cy="6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6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703" r:id="rId4"/>
    <p:sldLayoutId id="2147483706" r:id="rId5"/>
    <p:sldLayoutId id="2147483702" r:id="rId6"/>
    <p:sldLayoutId id="2147483685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7" r:id="rId2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ZEISS Frutiger Next W1G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25" userDrawn="1">
          <p15:clr>
            <a:srgbClr val="A4A3A4"/>
          </p15:clr>
        </p15:guide>
        <p15:guide id="16" pos="7355" userDrawn="1">
          <p15:clr>
            <a:srgbClr val="A4A3A4"/>
          </p15:clr>
        </p15:guide>
        <p15:guide id="17" pos="3931" userDrawn="1">
          <p15:clr>
            <a:srgbClr val="A4A3A4"/>
          </p15:clr>
        </p15:guide>
        <p15:guide id="18" pos="3749" userDrawn="1">
          <p15:clr>
            <a:srgbClr val="A4A3A4"/>
          </p15:clr>
        </p15:guide>
        <p15:guide id="19" orient="horz" pos="187" userDrawn="1">
          <p15:clr>
            <a:srgbClr val="A4A3A4"/>
          </p15:clr>
        </p15:guide>
        <p15:guide id="20" orient="horz" pos="663" userDrawn="1">
          <p15:clr>
            <a:srgbClr val="A4A3A4"/>
          </p15:clr>
        </p15:guide>
        <p15:guide id="21" orient="horz" pos="1026" userDrawn="1">
          <p15:clr>
            <a:srgbClr val="A4A3A4"/>
          </p15:clr>
        </p15:guide>
        <p15:guide id="23" orient="horz" pos="4182" userDrawn="1">
          <p15:clr>
            <a:srgbClr val="A4A3A4"/>
          </p15:clr>
        </p15:guide>
        <p15:guide id="24" orient="horz" pos="3838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93DD136-BEC3-96AB-4372-1CBC787F8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846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73" imgH="473" progId="TCLayout.ActiveDocument.1">
                  <p:embed/>
                </p:oleObj>
              </mc:Choice>
              <mc:Fallback>
                <p:oleObj name="think-cell Folie" r:id="rId1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3DD136-BEC3-96AB-4372-1CBC787F8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5371EF-857A-4846-8F90-CC9DD08CC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A5DDC2-D685-456A-A75C-32CAAD3C0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42F241-652F-4096-89E6-B91CFAFA4B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54B89-BCE5-47A7-9308-67D3AB072B0F}" type="datetime4">
              <a:rPr lang="de-DE" smtClean="0"/>
              <a:t>3. Jul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9863C5-5DA2-4975-88BD-874040C9F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EA62F3-5D21-4685-A24A-15DDB9E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054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microsoft.com/office/2017/06/relationships/model3d" Target="../media/model3d2.glb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9.xml"/><Relationship Id="rId6" Type="http://schemas.openxmlformats.org/officeDocument/2006/relationships/image" Target="../media/image16.png"/><Relationship Id="rId5" Type="http://schemas.microsoft.com/office/2017/06/relationships/model3d" Target="../media/model3d3.glb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7/06/relationships/model3d" Target="../media/model3d4.glb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1.png"/><Relationship Id="rId4" Type="http://schemas.microsoft.com/office/2017/06/relationships/model3d" Target="../media/model3d5.glb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7/06/relationships/model3d" Target="../media/model3d6.glb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png"/><Relationship Id="rId5" Type="http://schemas.microsoft.com/office/2017/06/relationships/model3d" Target="../media/model3d7.glb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tags" Target="../tags/tag90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slide" Target="slide4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notesSlide" Target="../notesSlides/notesSlide5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slide" Target="slide2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slide" Target="slide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slide" Target="slide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slide" Target="slide3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notesSlide" Target="../notesSlides/notesSlide2.xml"/><Relationship Id="rId28" Type="http://schemas.openxmlformats.org/officeDocument/2006/relationships/slide" Target="slide6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3" Type="http://schemas.openxmlformats.org/officeDocument/2006/relationships/tags" Target="../tags/tag94.xml"/><Relationship Id="rId21" Type="http://schemas.openxmlformats.org/officeDocument/2006/relationships/tags" Target="../tags/tag112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slide" Target="slide4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3" Type="http://schemas.openxmlformats.org/officeDocument/2006/relationships/tags" Target="../tags/tag116.xml"/><Relationship Id="rId21" Type="http://schemas.openxmlformats.org/officeDocument/2006/relationships/tags" Target="../tags/tag134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slide" Target="slide4.xml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notesSlide" Target="../notesSlides/notesSlide7.xml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6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notesSlide" Target="../notesSlides/notesSlide3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tags" Target="../tags/tag158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5" Type="http://schemas.openxmlformats.org/officeDocument/2006/relationships/slide" Target="slide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tags" Target="../tags/tag157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47.xml"/><Relationship Id="rId19" Type="http://schemas.openxmlformats.org/officeDocument/2006/relationships/tags" Target="../tags/tag156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Relationship Id="rId22" Type="http://schemas.openxmlformats.org/officeDocument/2006/relationships/tags" Target="../tags/tag15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microsoft.com/office/2007/relationships/hdphoto" Target="../media/hdphoto3.wdp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slide" Target="slide4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pielzeug, Cartoon enthält.&#10;&#10;KI-generierte Inhalte können fehlerhaft sein.">
            <a:extLst>
              <a:ext uri="{FF2B5EF4-FFF2-40B4-BE49-F238E27FC236}">
                <a16:creationId xmlns:a16="http://schemas.microsoft.com/office/drawing/2014/main" id="{3A07768B-93B0-C166-FD21-A24D61D93A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924" y="1910170"/>
            <a:ext cx="4509120" cy="4394276"/>
          </a:xfrm>
          <a:prstGeom prst="rect">
            <a:avLst/>
          </a:prstGeo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B76F7A03-9347-2F18-DF3F-D4766F150E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3D5704D4-182D-2081-A931-337F4856B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58" y="2202357"/>
            <a:ext cx="6845350" cy="748961"/>
          </a:xfrm>
        </p:spPr>
        <p:txBody>
          <a:bodyPr/>
          <a:lstStyle/>
          <a:p>
            <a:r>
              <a:rPr lang="de-DE">
                <a:latin typeface="+mn-lt"/>
                <a:cs typeface="Arial"/>
              </a:rPr>
              <a:t>Abschlusspräsentation</a:t>
            </a:r>
            <a:endParaRPr lang="de-DE">
              <a:latin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199AC7C-AE3C-424B-AE6F-C75CC60F5A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390" y="2943032"/>
            <a:ext cx="4943688" cy="738664"/>
          </a:xfrm>
        </p:spPr>
        <p:txBody>
          <a:bodyPr/>
          <a:lstStyle/>
          <a:p>
            <a:r>
              <a:rPr lang="de-DE" sz="3000">
                <a:cs typeface="Arial"/>
              </a:rPr>
              <a:t>Projektgruppe 4 </a:t>
            </a:r>
            <a:r>
              <a:rPr lang="de-DE" sz="3000">
                <a:solidFill>
                  <a:srgbClr val="000000"/>
                </a:solidFill>
                <a:cs typeface="Arial"/>
              </a:rPr>
              <a:t>-</a:t>
            </a:r>
            <a:r>
              <a:rPr lang="de-DE" sz="3000">
                <a:cs typeface="Arial"/>
              </a:rPr>
              <a:t> DailyM8</a:t>
            </a:r>
            <a:endParaRPr lang="de-DE" sz="300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0024835-3B3D-40D8-8601-9961D5A4F2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319" y="5202460"/>
            <a:ext cx="4319999" cy="1682512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de-DE">
                <a:cs typeface="Arial"/>
              </a:rPr>
              <a:t>5508863 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Marvin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Bullinger</a:t>
            </a:r>
            <a:br>
              <a:rPr lang="de-DE" altLang="ja-JP"/>
            </a:br>
            <a:r>
              <a:rPr lang="de-DE">
                <a:cs typeface="Arial"/>
              </a:rPr>
              <a:t>7332456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Christian</a:t>
            </a:r>
            <a:r>
              <a:rPr lang="ja-JP" altLang="de-DE">
                <a:cs typeface="Arial"/>
              </a:rPr>
              <a:t> </a:t>
            </a:r>
            <a:r>
              <a:rPr lang="de-DE" altLang="ja-JP" err="1">
                <a:cs typeface="Arial"/>
              </a:rPr>
              <a:t>Reile</a:t>
            </a:r>
            <a:br>
              <a:rPr lang="de-DE" altLang="ja-JP"/>
            </a:br>
            <a:r>
              <a:rPr lang="de-DE">
                <a:cs typeface="Arial"/>
              </a:rPr>
              <a:t>8377366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Annika Häberle</a:t>
            </a:r>
          </a:p>
          <a:p>
            <a:r>
              <a:rPr lang="de-DE">
                <a:cs typeface="Arial"/>
              </a:rPr>
              <a:t>2912216 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Hannes Maurer</a:t>
            </a:r>
            <a:br>
              <a:rPr lang="de-DE" altLang="ja-JP"/>
            </a:br>
            <a:r>
              <a:rPr lang="de-DE" altLang="ja-JP">
                <a:cs typeface="Arial"/>
              </a:rPr>
              <a:t>4604530</a:t>
            </a:r>
            <a:r>
              <a:rPr lang="de-DE">
                <a:cs typeface="Arial"/>
              </a:rPr>
              <a:t>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Frida Stähle</a:t>
            </a:r>
            <a:br>
              <a:rPr lang="de-DE" altLang="ja-JP"/>
            </a:br>
            <a:r>
              <a:rPr lang="de-DE">
                <a:cs typeface="Arial"/>
              </a:rPr>
              <a:t>6041193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Franz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Seibold</a:t>
            </a:r>
          </a:p>
          <a:p>
            <a:endParaRPr lang="de-DE" altLang="ja-JP"/>
          </a:p>
          <a:p>
            <a:endParaRPr lang="de-DE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71A80152-38E1-4798-9C7D-054735142F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0" name="Datumsplatzhalter 1">
            <a:extLst>
              <a:ext uri="{FF2B5EF4-FFF2-40B4-BE49-F238E27FC236}">
                <a16:creationId xmlns:a16="http://schemas.microsoft.com/office/drawing/2014/main" id="{09A31829-66B8-445E-8739-442FC5AD4B4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8319" y="6476634"/>
            <a:ext cx="899285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7AB30B11-C5E5-4B58-8B44-A7D386B62184}" type="datetime4">
              <a:rPr lang="de-DE" b="0" smtClean="0"/>
              <a:t>3. Juli 2025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3664439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D1FDA-5B26-1F43-E01F-45BC21331C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A5189B-CE92-0218-21FD-7F45EE639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B7219-28DF-7AA8-A429-15AC313D137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Gehäuse mit Auswurffach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508BAC-9D8C-1BFC-790B-2D1FD9D7D739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75E4CC-EB5B-077D-A1F7-500E732810B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0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9" name="3D-Modell 8">
                <a:extLst>
                  <a:ext uri="{FF2B5EF4-FFF2-40B4-BE49-F238E27FC236}">
                    <a16:creationId xmlns:a16="http://schemas.microsoft.com/office/drawing/2014/main" id="{EB0AED13-2340-ECC4-DB39-AF82AEE326E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270816766"/>
                  </p:ext>
                </p:extLst>
              </p:nvPr>
            </p:nvGraphicFramePr>
            <p:xfrm rot="722183">
              <a:off x="1769213" y="4201967"/>
              <a:ext cx="3286431" cy="1849399"/>
            </p:xfrm>
            <a:graphic>
              <a:graphicData uri="http://schemas.microsoft.com/office/drawing/2017/model3d">
                <am3d:model3d r:embed="rId2">
                  <am3d:spPr>
                    <a:xfrm rot="722183">
                      <a:off x="0" y="0"/>
                      <a:ext cx="3286431" cy="1849399"/>
                    </a:xfrm>
                    <a:prstGeom prst="rect">
                      <a:avLst/>
                    </a:prstGeom>
                  </am3d:spPr>
                  <am3d:camera>
                    <am3d:pos x="0" y="0" z="5712252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100" d="1000000"/>
                    <am3d:preTrans dx="-9783198" dy="-3247400" dz="7462571"/>
                    <am3d:scale>
                      <am3d:sx n="1000000" d="1000000"/>
                      <am3d:sy n="1000000" d="1000000"/>
                      <am3d:sz n="1000000" d="1000000"/>
                    </am3d:scale>
                    <am3d:rot ax="-5725402" ay="-2526229" az="5883294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343638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9" name="3D-Modell 8">
                <a:extLst>
                  <a:ext uri="{FF2B5EF4-FFF2-40B4-BE49-F238E27FC236}">
                    <a16:creationId xmlns:a16="http://schemas.microsoft.com/office/drawing/2014/main" id="{EB0AED13-2340-ECC4-DB39-AF82AEE326E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722183">
                <a:off x="1769213" y="4201967"/>
                <a:ext cx="3286431" cy="184939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-Modell 6">
                <a:extLst>
                  <a:ext uri="{FF2B5EF4-FFF2-40B4-BE49-F238E27FC236}">
                    <a16:creationId xmlns:a16="http://schemas.microsoft.com/office/drawing/2014/main" id="{84E8DE34-B005-D255-5DFC-722544B3E40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92047862"/>
                  </p:ext>
                </p:extLst>
              </p:nvPr>
            </p:nvGraphicFramePr>
            <p:xfrm rot="6014141">
              <a:off x="1164067" y="-27783"/>
              <a:ext cx="2737420" cy="4591076"/>
            </p:xfrm>
            <a:graphic>
              <a:graphicData uri="http://schemas.microsoft.com/office/drawing/2017/model3d">
                <am3d:model3d r:embed="rId4">
                  <am3d:spPr>
                    <a:xfrm rot="6014141">
                      <a:off x="0" y="0"/>
                      <a:ext cx="2737420" cy="4591076"/>
                    </a:xfrm>
                    <a:prstGeom prst="rect">
                      <a:avLst/>
                    </a:prstGeom>
                  </am3d:spPr>
                  <am3d:camera>
                    <am3d:pos x="0" y="0" z="5677083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34" d="1000000"/>
                    <am3d:preTrans dx="-4260550" dy="0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9580157" ay="-1368724" az="-10309538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5679050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-Modell 6">
                <a:extLst>
                  <a:ext uri="{FF2B5EF4-FFF2-40B4-BE49-F238E27FC236}">
                    <a16:creationId xmlns:a16="http://schemas.microsoft.com/office/drawing/2014/main" id="{84E8DE34-B005-D255-5DFC-722544B3E40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6014141">
                <a:off x="1164067" y="-27783"/>
                <a:ext cx="2737420" cy="4591076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0B3E1046-7449-9EDF-C962-9CE977204EB6}"/>
              </a:ext>
            </a:extLst>
          </p:cNvPr>
          <p:cNvSpPr txBox="1"/>
          <p:nvPr/>
        </p:nvSpPr>
        <p:spPr>
          <a:xfrm>
            <a:off x="6803235" y="2026641"/>
            <a:ext cx="5004444" cy="46679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Vorgabe der Abmaße des Gehäuses durch die Kunststoffkiste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Zusätzliche Verkleinerung an einer Kante für die Bedienelemente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Auswurffach bestehend aus einer Materialrutsche und einem Auffangbehälter für fertige Teile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cs typeface="Arial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709488B-47CE-0ACE-3254-88FE5818A749}"/>
              </a:ext>
            </a:extLst>
          </p:cNvPr>
          <p:cNvCxnSpPr>
            <a:cxnSpLocks/>
          </p:cNvCxnSpPr>
          <p:nvPr/>
        </p:nvCxnSpPr>
        <p:spPr>
          <a:xfrm flipV="1">
            <a:off x="1736465" y="4655931"/>
            <a:ext cx="892251" cy="978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10C1B40E-C63D-03AA-DA1C-B09C796ADE6D}"/>
              </a:ext>
            </a:extLst>
          </p:cNvPr>
          <p:cNvSpPr txBox="1"/>
          <p:nvPr/>
        </p:nvSpPr>
        <p:spPr>
          <a:xfrm>
            <a:off x="384321" y="5634242"/>
            <a:ext cx="13521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aterialrutsche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77F720F8-D5D2-A032-3674-32DDF7FC429C}"/>
              </a:ext>
            </a:extLst>
          </p:cNvPr>
          <p:cNvCxnSpPr>
            <a:cxnSpLocks/>
          </p:cNvCxnSpPr>
          <p:nvPr/>
        </p:nvCxnSpPr>
        <p:spPr>
          <a:xfrm flipH="1">
            <a:off x="4347269" y="5032059"/>
            <a:ext cx="1037283" cy="41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3760742B-B439-FFA9-E269-2F134E26C86F}"/>
              </a:ext>
            </a:extLst>
          </p:cNvPr>
          <p:cNvSpPr txBox="1"/>
          <p:nvPr/>
        </p:nvSpPr>
        <p:spPr>
          <a:xfrm>
            <a:off x="5302686" y="4785838"/>
            <a:ext cx="15047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uffangbehälter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689282FA-1D1F-40EE-4B5E-A31FF19D277C}"/>
              </a:ext>
            </a:extLst>
          </p:cNvPr>
          <p:cNvCxnSpPr>
            <a:cxnSpLocks/>
          </p:cNvCxnSpPr>
          <p:nvPr/>
        </p:nvCxnSpPr>
        <p:spPr>
          <a:xfrm flipH="1">
            <a:off x="4708187" y="1454083"/>
            <a:ext cx="921017" cy="417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79BA8E7D-FBBC-671F-C4D6-3E7E820C8885}"/>
              </a:ext>
            </a:extLst>
          </p:cNvPr>
          <p:cNvSpPr txBox="1"/>
          <p:nvPr/>
        </p:nvSpPr>
        <p:spPr>
          <a:xfrm>
            <a:off x="5629204" y="1204415"/>
            <a:ext cx="15047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agazinebene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F3B20C02-D6F4-9CEB-9C1C-6884A0F761B5}"/>
              </a:ext>
            </a:extLst>
          </p:cNvPr>
          <p:cNvCxnSpPr>
            <a:cxnSpLocks/>
          </p:cNvCxnSpPr>
          <p:nvPr/>
        </p:nvCxnSpPr>
        <p:spPr>
          <a:xfrm flipV="1">
            <a:off x="1060393" y="2961459"/>
            <a:ext cx="324114" cy="782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C21D20BA-AFFB-DD8E-8C5F-2BA425D0038C}"/>
              </a:ext>
            </a:extLst>
          </p:cNvPr>
          <p:cNvSpPr txBox="1"/>
          <p:nvPr/>
        </p:nvSpPr>
        <p:spPr>
          <a:xfrm>
            <a:off x="342231" y="3789230"/>
            <a:ext cx="13521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rundplatte</a:t>
            </a:r>
          </a:p>
        </p:txBody>
      </p:sp>
    </p:spTree>
    <p:extLst>
      <p:ext uri="{BB962C8B-B14F-4D97-AF65-F5344CB8AC3E}">
        <p14:creationId xmlns:p14="http://schemas.microsoft.com/office/powerpoint/2010/main" val="4257729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27154-E892-8459-32B8-0663BEEA8B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89DB2C-1D07-2A26-838F-B50943430A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08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89DB2C-1D07-2A26-838F-B50943430A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1AF383D-C7F9-1FD3-4471-9D0E83D67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D857CE-F71F-0712-3F35-6E4F38A1499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Linearführung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7FACD0-1CC7-C8A8-E11D-C70A86AB6948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1DDD432-E5A2-DB67-10AB-F456A2A7450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1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" name="3D-Modell 3">
                <a:extLst>
                  <a:ext uri="{FF2B5EF4-FFF2-40B4-BE49-F238E27FC236}">
                    <a16:creationId xmlns:a16="http://schemas.microsoft.com/office/drawing/2014/main" id="{B3D2C8FF-5991-DD19-2334-45CC44B37D3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7649075"/>
                  </p:ext>
                </p:extLst>
              </p:nvPr>
            </p:nvGraphicFramePr>
            <p:xfrm rot="16707249">
              <a:off x="1580077" y="346978"/>
              <a:ext cx="3302254" cy="5912342"/>
            </p:xfrm>
            <a:graphic>
              <a:graphicData uri="http://schemas.microsoft.com/office/drawing/2017/model3d">
                <am3d:model3d r:embed="rId5">
                  <am3d:spPr>
                    <a:xfrm rot="16707249">
                      <a:off x="0" y="0"/>
                      <a:ext cx="3302254" cy="5912342"/>
                    </a:xfrm>
                    <a:prstGeom prst="rect">
                      <a:avLst/>
                    </a:prstGeom>
                  </am3d:spPr>
                  <am3d:camera>
                    <am3d:pos x="0" y="0" z="57749256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34" d="1000000"/>
                    <am3d:preTrans dx="-5878898" dy="0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-1413925" ay="-1149330" az="488673"/>
                    <am3d:postTrans dx="0" dy="0" dz="0"/>
                  </am3d:trans>
                  <am3d:raster rName="Office3DRenderer" rVer="16.0.8326">
                    <am3d:blip r:embed="rId6"/>
                  </am3d:raster>
                  <am3d:objViewport viewportSz="6131318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3D-Modell 3">
                <a:extLst>
                  <a:ext uri="{FF2B5EF4-FFF2-40B4-BE49-F238E27FC236}">
                    <a16:creationId xmlns:a16="http://schemas.microsoft.com/office/drawing/2014/main" id="{B3D2C8FF-5991-DD19-2334-45CC44B37D3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 rot="16707249">
                <a:off x="1580077" y="346978"/>
                <a:ext cx="3302254" cy="5912342"/>
              </a:xfrm>
              <a:prstGeom prst="rect">
                <a:avLst/>
              </a:prstGeom>
            </p:spPr>
          </p:pic>
        </mc:Fallback>
      </mc:AlternateContent>
      <p:sp>
        <p:nvSpPr>
          <p:cNvPr id="42" name="Textfeld 41">
            <a:extLst>
              <a:ext uri="{FF2B5EF4-FFF2-40B4-BE49-F238E27FC236}">
                <a16:creationId xmlns:a16="http://schemas.microsoft.com/office/drawing/2014/main" id="{30EA1363-FF79-AF7C-E2A9-C988ED8D2F8D}"/>
              </a:ext>
            </a:extLst>
          </p:cNvPr>
          <p:cNvSpPr txBox="1"/>
          <p:nvPr/>
        </p:nvSpPr>
        <p:spPr>
          <a:xfrm>
            <a:off x="6562685" y="2241748"/>
            <a:ext cx="5072388" cy="38985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Umfängliche Führung der Schieber innerhalb und außerhalb der Magazine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cs typeface="Arial"/>
              </a:rPr>
              <a:t>Führung des Verbindungsstücks auf einer Linearschiene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cs typeface="Arial"/>
              </a:rPr>
              <a:t>Nachladen und Ausschieben in einem Hub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cs typeface="Arial"/>
              </a:rPr>
              <a:t>Antrieb über Zahnstange und Servomotor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35C20A0-5394-AFA0-08CD-B75FDD482A14}"/>
              </a:ext>
            </a:extLst>
          </p:cNvPr>
          <p:cNvSpPr txBox="1"/>
          <p:nvPr/>
        </p:nvSpPr>
        <p:spPr>
          <a:xfrm>
            <a:off x="751115" y="5594111"/>
            <a:ext cx="1905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erbindungsstück mit Zahnstange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23EE19F-C289-148B-8694-238B499E1913}"/>
              </a:ext>
            </a:extLst>
          </p:cNvPr>
          <p:cNvSpPr txBox="1"/>
          <p:nvPr/>
        </p:nvSpPr>
        <p:spPr>
          <a:xfrm>
            <a:off x="2917372" y="1235353"/>
            <a:ext cx="1905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agazine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72573BD5-2B10-DD40-42DE-1820BFE544A3}"/>
              </a:ext>
            </a:extLst>
          </p:cNvPr>
          <p:cNvSpPr txBox="1"/>
          <p:nvPr/>
        </p:nvSpPr>
        <p:spPr>
          <a:xfrm>
            <a:off x="3869872" y="5594110"/>
            <a:ext cx="1905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inearschlitten auf Schien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929F0A4-2E23-0913-E46C-0BB388F10017}"/>
              </a:ext>
            </a:extLst>
          </p:cNvPr>
          <p:cNvSpPr txBox="1"/>
          <p:nvPr/>
        </p:nvSpPr>
        <p:spPr>
          <a:xfrm>
            <a:off x="4657685" y="1394398"/>
            <a:ext cx="1905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ieber</a:t>
            </a:r>
          </a:p>
        </p:txBody>
      </p: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49A656E8-181F-35D9-6A38-9D36F2D33942}"/>
              </a:ext>
            </a:extLst>
          </p:cNvPr>
          <p:cNvCxnSpPr>
            <a:cxnSpLocks/>
          </p:cNvCxnSpPr>
          <p:nvPr/>
        </p:nvCxnSpPr>
        <p:spPr>
          <a:xfrm flipV="1">
            <a:off x="1667872" y="3853638"/>
            <a:ext cx="857614" cy="15723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320C2265-DB83-D158-EF64-28F110CDACB9}"/>
              </a:ext>
            </a:extLst>
          </p:cNvPr>
          <p:cNvCxnSpPr>
            <a:cxnSpLocks/>
          </p:cNvCxnSpPr>
          <p:nvPr/>
        </p:nvCxnSpPr>
        <p:spPr>
          <a:xfrm flipH="1" flipV="1">
            <a:off x="3418114" y="4191000"/>
            <a:ext cx="975451" cy="1259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E2CBD2B-0874-4C43-3E1D-83910F605E7F}"/>
              </a:ext>
            </a:extLst>
          </p:cNvPr>
          <p:cNvCxnSpPr>
            <a:cxnSpLocks/>
          </p:cNvCxnSpPr>
          <p:nvPr/>
        </p:nvCxnSpPr>
        <p:spPr>
          <a:xfrm>
            <a:off x="4917258" y="1775212"/>
            <a:ext cx="155485" cy="16537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25A7FA8D-9EFA-410E-4217-ADCFEC47EF47}"/>
              </a:ext>
            </a:extLst>
          </p:cNvPr>
          <p:cNvCxnSpPr>
            <a:cxnSpLocks/>
          </p:cNvCxnSpPr>
          <p:nvPr/>
        </p:nvCxnSpPr>
        <p:spPr>
          <a:xfrm>
            <a:off x="3385457" y="1598735"/>
            <a:ext cx="324329" cy="16537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A4423B2-D3BC-E11A-5980-9DF8C417A046}"/>
              </a:ext>
            </a:extLst>
          </p:cNvPr>
          <p:cNvCxnSpPr>
            <a:cxnSpLocks/>
          </p:cNvCxnSpPr>
          <p:nvPr/>
        </p:nvCxnSpPr>
        <p:spPr>
          <a:xfrm flipH="1">
            <a:off x="1667872" y="1607442"/>
            <a:ext cx="1717585" cy="1350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17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02B09-33CC-C0AE-069C-B83C55209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6B33B4-7499-F183-F268-44EFBF7D0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22EAC4-BAFF-80CA-6987-E1B4F01B4FD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uslegung Zahnstangenantrieb 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53695D3-10E2-6D12-75E1-D4FCF7815E69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437132" y="1495283"/>
            <a:ext cx="11160000" cy="369332"/>
          </a:xfrm>
        </p:spPr>
        <p:txBody>
          <a:bodyPr/>
          <a:lstStyle/>
          <a:p>
            <a:r>
              <a:rPr lang="de-DE" sz="2000" b="1">
                <a:cs typeface="Arial"/>
              </a:rPr>
              <a:t>Randbedingungen:</a:t>
            </a:r>
          </a:p>
          <a:p>
            <a:endParaRPr lang="de-DE" sz="2000" b="1"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22BB63-1F6C-54AE-5093-0B38A755277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E2AE4-8240-4F6D-C702-9AADE26D419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2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561F1E15-B51B-69B6-6EA1-42FEDF4B9685}"/>
                  </a:ext>
                </a:extLst>
              </p:cNvPr>
              <p:cNvSpPr txBox="1"/>
              <p:nvPr/>
            </p:nvSpPr>
            <p:spPr>
              <a:xfrm>
                <a:off x="437132" y="2274837"/>
                <a:ext cx="1821140" cy="3685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𝐻𝑢𝑏</m:t>
                          </m:r>
                        </m:e>
                        <m:sub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𝑒𝑟𝑓</m:t>
                          </m:r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.</m:t>
                          </m:r>
                        </m:sub>
                      </m:sSub>
                      <m:r>
                        <a:rPr kumimoji="0" lang="de-DE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100,5</m:t>
                      </m:r>
                      <m:r>
                        <a:rPr kumimoji="0" lang="de-DE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𝑚𝑚</m:t>
                      </m:r>
                    </m:oMath>
                  </m:oMathPara>
                </a14:m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561F1E15-B51B-69B6-6EA1-42FEDF4B96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132" y="2274837"/>
                <a:ext cx="1821140" cy="368562"/>
              </a:xfrm>
              <a:prstGeom prst="rect">
                <a:avLst/>
              </a:prstGeom>
              <a:blipFill>
                <a:blip r:embed="rId2"/>
                <a:stretch>
                  <a:fillRect l="-2349" r="-23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1A4A5F-86C0-8E53-6F30-E0E9FD5587E4}"/>
                  </a:ext>
                </a:extLst>
              </p:cNvPr>
              <p:cNvSpPr txBox="1"/>
              <p:nvPr/>
            </p:nvSpPr>
            <p:spPr>
              <a:xfrm>
                <a:off x="437132" y="2690047"/>
                <a:ext cx="3148361" cy="3488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𝑚𝑎𝑥</m:t>
                          </m:r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. </m:t>
                          </m:r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𝑅𝑜𝑡𝑎𝑡𝑖𝑜𝑛𝑠𝑤𝑖𝑛𝑘𝑒𝑙</m:t>
                          </m:r>
                        </m:e>
                        <m:sub>
                          <m:r>
                            <a:rPr kumimoji="0" lang="de-DE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𝑆𝑒𝑟𝑣𝑜</m:t>
                          </m:r>
                        </m:sub>
                      </m:sSub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≈</m:t>
                      </m:r>
                      <m:r>
                        <a:rPr lang="de-DE" sz="16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160°</m:t>
                      </m:r>
                    </m:oMath>
                  </m:oMathPara>
                </a14:m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1A4A5F-86C0-8E53-6F30-E0E9FD5587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132" y="2690047"/>
                <a:ext cx="3148361" cy="348813"/>
              </a:xfrm>
              <a:prstGeom prst="rect">
                <a:avLst/>
              </a:prstGeom>
              <a:blipFill>
                <a:blip r:embed="rId3"/>
                <a:stretch>
                  <a:fillRect l="-581" r="-7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8512FF01-76EA-FDA2-D5F4-8C4FDDA1F97B}"/>
              </a:ext>
            </a:extLst>
          </p:cNvPr>
          <p:cNvSpPr txBox="1"/>
          <p:nvPr/>
        </p:nvSpPr>
        <p:spPr>
          <a:xfrm>
            <a:off x="2446617" y="2274837"/>
            <a:ext cx="3570515" cy="595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ind. Zahnstangenläng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4C6F2B8-3BDC-B3C5-1CEF-C37BB2847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274" y="3890180"/>
            <a:ext cx="11676000" cy="2150126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458AA7D2-35CA-DF36-9BF8-8553B9252040}"/>
              </a:ext>
            </a:extLst>
          </p:cNvPr>
          <p:cNvSpPr/>
          <p:nvPr/>
        </p:nvSpPr>
        <p:spPr>
          <a:xfrm>
            <a:off x="340548" y="5166774"/>
            <a:ext cx="11593452" cy="224660"/>
          </a:xfrm>
          <a:prstGeom prst="rect">
            <a:avLst/>
          </a:prstGeom>
          <a:noFill/>
          <a:ln w="285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439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ABDE2-00E1-4AB2-DDC6-8A3035C13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8" name="3D-Modell 37">
                <a:extLst>
                  <a:ext uri="{FF2B5EF4-FFF2-40B4-BE49-F238E27FC236}">
                    <a16:creationId xmlns:a16="http://schemas.microsoft.com/office/drawing/2014/main" id="{6A721598-BBED-49E7-1B23-75A218174A4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97600010"/>
                  </p:ext>
                </p:extLst>
              </p:nvPr>
            </p:nvGraphicFramePr>
            <p:xfrm rot="15273506">
              <a:off x="3501056" y="1762053"/>
              <a:ext cx="4644224" cy="3121527"/>
            </p:xfrm>
            <a:graphic>
              <a:graphicData uri="http://schemas.microsoft.com/office/drawing/2017/model3d">
                <am3d:model3d r:embed="rId2">
                  <am3d:spPr>
                    <a:xfrm rot="15273506">
                      <a:off x="0" y="0"/>
                      <a:ext cx="4644224" cy="3121527"/>
                    </a:xfrm>
                    <a:prstGeom prst="rect">
                      <a:avLst/>
                    </a:prstGeom>
                  </am3d:spPr>
                  <am3d:camera>
                    <am3d:pos x="0" y="0" z="5762665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5005" d="1000000"/>
                    <am3d:preTrans dx="-18900900" dy="0" dz="-21621621"/>
                    <am3d:scale>
                      <am3d:sx n="1000000" d="1000000"/>
                      <am3d:sy n="1000000" d="1000000"/>
                      <am3d:sz n="1000000" d="1000000"/>
                    </am3d:scale>
                    <am3d:rot ax="2369228" ay="-1078067" az="-855687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31040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8" name="3D-Modell 37">
                <a:extLst>
                  <a:ext uri="{FF2B5EF4-FFF2-40B4-BE49-F238E27FC236}">
                    <a16:creationId xmlns:a16="http://schemas.microsoft.com/office/drawing/2014/main" id="{6A721598-BBED-49E7-1B23-75A218174A4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5273506">
                <a:off x="3501056" y="1762053"/>
                <a:ext cx="4644224" cy="312152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8ACDA350-51B4-C228-373F-0A5DA9231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5A49FF-1CBB-1339-08D3-AE963149983D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rehmechanismus zusätzlich Hubmagnet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A543162-6EE5-BFD6-A4D8-4A3008A46FB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FB7844-AB69-5C83-5317-90F801689EF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3</a:t>
            </a:fld>
            <a:endParaRPr lang="de-DE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BAA5F033-B9BE-29AC-5D34-5B441D171081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5936941" y="1462653"/>
            <a:ext cx="1689545" cy="1465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0D092A4B-F201-3C5E-35B9-E01DCDFBE55A}"/>
              </a:ext>
            </a:extLst>
          </p:cNvPr>
          <p:cNvSpPr txBox="1"/>
          <p:nvPr/>
        </p:nvSpPr>
        <p:spPr>
          <a:xfrm>
            <a:off x="7626486" y="1308764"/>
            <a:ext cx="38519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Befestigungswinkel für Hubmagnet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A9B3B5F-24C6-3DA0-4790-54781829FFC5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5555601" y="1928986"/>
            <a:ext cx="2270663" cy="325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F416C109-9334-7B6B-43CD-A527938CF8F3}"/>
              </a:ext>
            </a:extLst>
          </p:cNvPr>
          <p:cNvSpPr txBox="1"/>
          <p:nvPr/>
        </p:nvSpPr>
        <p:spPr>
          <a:xfrm>
            <a:off x="7826264" y="1775097"/>
            <a:ext cx="25302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Hubmagnet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21017421-D639-7BCF-4EC9-6E65EBE85C9F}"/>
              </a:ext>
            </a:extLst>
          </p:cNvPr>
          <p:cNvCxnSpPr>
            <a:cxnSpLocks/>
            <a:stCxn id="30" idx="1"/>
          </p:cNvCxnSpPr>
          <p:nvPr/>
        </p:nvCxnSpPr>
        <p:spPr>
          <a:xfrm flipH="1">
            <a:off x="5629204" y="2480696"/>
            <a:ext cx="2248158" cy="2131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C9285DB5-476E-3DE4-B945-7F554004043E}"/>
              </a:ext>
            </a:extLst>
          </p:cNvPr>
          <p:cNvSpPr txBox="1"/>
          <p:nvPr/>
        </p:nvSpPr>
        <p:spPr>
          <a:xfrm>
            <a:off x="7877362" y="2326807"/>
            <a:ext cx="25302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ruckstempel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FDBCA18C-8490-42B5-F310-42CAC8AE2C16}"/>
              </a:ext>
            </a:extLst>
          </p:cNvPr>
          <p:cNvCxnSpPr>
            <a:cxnSpLocks/>
          </p:cNvCxnSpPr>
          <p:nvPr/>
        </p:nvCxnSpPr>
        <p:spPr>
          <a:xfrm flipH="1" flipV="1">
            <a:off x="6410528" y="2878517"/>
            <a:ext cx="1638689" cy="151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ECEB4C6F-57A3-812A-0059-EE8CBFF6A7E9}"/>
              </a:ext>
            </a:extLst>
          </p:cNvPr>
          <p:cNvSpPr txBox="1"/>
          <p:nvPr/>
        </p:nvSpPr>
        <p:spPr>
          <a:xfrm>
            <a:off x="8049217" y="2907339"/>
            <a:ext cx="25302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rehplatt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C7E71A85-BCBC-11CC-E036-AA2F9ED8C745}"/>
              </a:ext>
            </a:extLst>
          </p:cNvPr>
          <p:cNvSpPr/>
          <p:nvPr/>
        </p:nvSpPr>
        <p:spPr>
          <a:xfrm>
            <a:off x="4572000" y="3035079"/>
            <a:ext cx="2371903" cy="2823108"/>
          </a:xfrm>
          <a:prstGeom prst="round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0CCDA2E-0B7A-847B-8FE3-5ADC42D3CC94}"/>
              </a:ext>
            </a:extLst>
          </p:cNvPr>
          <p:cNvCxnSpPr>
            <a:cxnSpLocks/>
          </p:cNvCxnSpPr>
          <p:nvPr/>
        </p:nvCxnSpPr>
        <p:spPr>
          <a:xfrm flipH="1">
            <a:off x="6943903" y="3704441"/>
            <a:ext cx="1548344" cy="7421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8D24D7D-C151-CFC6-5F2A-D46598F25C4B}"/>
              </a:ext>
            </a:extLst>
          </p:cNvPr>
          <p:cNvSpPr txBox="1"/>
          <p:nvPr/>
        </p:nvSpPr>
        <p:spPr>
          <a:xfrm>
            <a:off x="8611775" y="3558948"/>
            <a:ext cx="2866623" cy="2667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rehvorrichtung bestehend aus: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Welle 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ager 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Gehäuse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ittmotor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5" name="3D-Modell 44">
                <a:extLst>
                  <a:ext uri="{FF2B5EF4-FFF2-40B4-BE49-F238E27FC236}">
                    <a16:creationId xmlns:a16="http://schemas.microsoft.com/office/drawing/2014/main" id="{0467196E-6D5C-E0D6-BC93-CB61CC8B285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7531991"/>
                  </p:ext>
                </p:extLst>
              </p:nvPr>
            </p:nvGraphicFramePr>
            <p:xfrm rot="16920016">
              <a:off x="1277014" y="-53387"/>
              <a:ext cx="2872571" cy="4401875"/>
            </p:xfrm>
            <a:graphic>
              <a:graphicData uri="http://schemas.microsoft.com/office/drawing/2017/model3d">
                <am3d:model3d r:embed="rId4">
                  <am3d:spPr>
                    <a:xfrm rot="16920016">
                      <a:off x="0" y="0"/>
                      <a:ext cx="2872571" cy="4401875"/>
                    </a:xfrm>
                    <a:prstGeom prst="rect">
                      <a:avLst/>
                    </a:prstGeom>
                  </am3d:spPr>
                  <am3d:camera>
                    <am3d:pos x="0" y="0" z="58407118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34" d="1000000"/>
                    <am3d:preTrans dx="-6764036" dy="0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-1522074" ay="-1528189" az="691473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474757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5" name="3D-Modell 44">
                <a:extLst>
                  <a:ext uri="{FF2B5EF4-FFF2-40B4-BE49-F238E27FC236}">
                    <a16:creationId xmlns:a16="http://schemas.microsoft.com/office/drawing/2014/main" id="{0467196E-6D5C-E0D6-BC93-CB61CC8B285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6920016">
                <a:off x="1277014" y="-53387"/>
                <a:ext cx="2872571" cy="440187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58823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1907C-E3AC-BCF9-26EE-E82E136ECC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F48898-C985-D792-EE70-6A984AE6F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26B1BB-5C68-B117-44A3-188093822B9D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oboterarm mit Gummibandmagazin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5409DAA-C3B3-1391-2DBC-07951C65F5AF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3D599E-55EC-C2BE-760E-346025BB16B6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F92AADE-0E1C-9288-7138-5A29E8634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8718" y="1376264"/>
            <a:ext cx="2435010" cy="2125895"/>
          </a:xfrm>
          <a:prstGeom prst="rect">
            <a:avLst/>
          </a:prstGeom>
        </p:spPr>
      </p:pic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8" name="3D-Modell 7">
                <a:extLst>
                  <a:ext uri="{FF2B5EF4-FFF2-40B4-BE49-F238E27FC236}">
                    <a16:creationId xmlns:a16="http://schemas.microsoft.com/office/drawing/2014/main" id="{9E3611BB-6201-A2B2-4E11-E82DE7BDB7C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24910557"/>
                  </p:ext>
                </p:extLst>
              </p:nvPr>
            </p:nvGraphicFramePr>
            <p:xfrm rot="16200000">
              <a:off x="1918766" y="2015114"/>
              <a:ext cx="2979216" cy="5132969"/>
            </p:xfrm>
            <a:graphic>
              <a:graphicData uri="http://schemas.microsoft.com/office/drawing/2017/model3d">
                <am3d:model3d r:embed="rId3">
                  <am3d:spPr>
                    <a:xfrm rot="16200000">
                      <a:off x="0" y="0"/>
                      <a:ext cx="2979216" cy="5132969"/>
                    </a:xfrm>
                    <a:prstGeom prst="rect">
                      <a:avLst/>
                    </a:prstGeom>
                  </am3d:spPr>
                  <am3d:camera>
                    <am3d:pos x="0" y="0" z="5763596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34" d="1000000"/>
                    <am3d:preTrans dx="-5713761" dy="0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326488" ay="-2364914" az="-207666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41866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8" name="3D-Modell 7">
                <a:extLst>
                  <a:ext uri="{FF2B5EF4-FFF2-40B4-BE49-F238E27FC236}">
                    <a16:creationId xmlns:a16="http://schemas.microsoft.com/office/drawing/2014/main" id="{9E3611BB-6201-A2B2-4E11-E82DE7BDB7C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6200000">
                <a:off x="1918766" y="2015114"/>
                <a:ext cx="2979216" cy="5132969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3AAAD9CD-9500-C595-19DA-DA59F8CEF258}"/>
              </a:ext>
            </a:extLst>
          </p:cNvPr>
          <p:cNvSpPr txBox="1"/>
          <p:nvPr/>
        </p:nvSpPr>
        <p:spPr>
          <a:xfrm>
            <a:off x="6534053" y="1992709"/>
            <a:ext cx="5072388" cy="28725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Form des Gummibandmagazin definiert durch den Rotationsradius des Roboters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cs typeface="Arial"/>
              </a:rPr>
              <a:t>Positionierung Roboterarm im definierten Abstand zum Gummibandmagazin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cs typeface="Arial"/>
              </a:rPr>
              <a:t>Anordnung der Gummibänder horizontal hintereinanderliegend auf dem Magazin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01DA92D-3346-56FE-31FE-A4765A9AC54B}"/>
              </a:ext>
            </a:extLst>
          </p:cNvPr>
          <p:cNvCxnSpPr>
            <a:cxnSpLocks/>
          </p:cNvCxnSpPr>
          <p:nvPr/>
        </p:nvCxnSpPr>
        <p:spPr>
          <a:xfrm flipH="1">
            <a:off x="4313363" y="2339415"/>
            <a:ext cx="377640" cy="12477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8836B76F-91FC-1566-3BE1-9E375EA61EE8}"/>
              </a:ext>
            </a:extLst>
          </p:cNvPr>
          <p:cNvSpPr txBox="1"/>
          <p:nvPr/>
        </p:nvSpPr>
        <p:spPr>
          <a:xfrm>
            <a:off x="4012620" y="2088567"/>
            <a:ext cx="23534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Gummibandmagazi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9D3F63A-CF2B-D061-ED75-6ED7107C8AD5}"/>
              </a:ext>
            </a:extLst>
          </p:cNvPr>
          <p:cNvCxnSpPr>
            <a:cxnSpLocks/>
          </p:cNvCxnSpPr>
          <p:nvPr/>
        </p:nvCxnSpPr>
        <p:spPr>
          <a:xfrm>
            <a:off x="977657" y="2761137"/>
            <a:ext cx="1366709" cy="9587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C225BF-5925-22F1-B68A-2A99539DBF77}"/>
              </a:ext>
            </a:extLst>
          </p:cNvPr>
          <p:cNvSpPr txBox="1"/>
          <p:nvPr/>
        </p:nvSpPr>
        <p:spPr>
          <a:xfrm>
            <a:off x="299274" y="2510289"/>
            <a:ext cx="20045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Roboterbase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6" name="3D-Modell 15">
                <a:extLst>
                  <a:ext uri="{FF2B5EF4-FFF2-40B4-BE49-F238E27FC236}">
                    <a16:creationId xmlns:a16="http://schemas.microsoft.com/office/drawing/2014/main" id="{BAEE847B-1C39-AD7B-1883-3F7222F8BC3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335432598"/>
                  </p:ext>
                </p:extLst>
              </p:nvPr>
            </p:nvGraphicFramePr>
            <p:xfrm>
              <a:off x="6744494" y="4252187"/>
              <a:ext cx="4469495" cy="2073085"/>
            </p:xfrm>
            <a:graphic>
              <a:graphicData uri="http://schemas.microsoft.com/office/drawing/2017/model3d">
                <am3d:model3d r:embed="rId5">
                  <am3d:spPr>
                    <a:xfrm>
                      <a:off x="0" y="0"/>
                      <a:ext cx="4469495" cy="2073085"/>
                    </a:xfrm>
                    <a:prstGeom prst="rect">
                      <a:avLst/>
                    </a:prstGeom>
                  </am3d:spPr>
                  <am3d:camera>
                    <am3d:pos x="0" y="0" z="53827767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3896" d="1000000"/>
                    <am3d:preTrans dx="-19112301" dy="13110883" dz="4363217"/>
                    <am3d:scale>
                      <am3d:sx n="1000000" d="1000000"/>
                      <am3d:sy n="1000000" d="1000000"/>
                      <am3d:sz n="1000000" d="1000000"/>
                    </am3d:scale>
                    <am3d:rot ax="5792066" ay="-1901146" az="4661939"/>
                    <am3d:postTrans dx="0" dy="0" dz="0"/>
                  </am3d:trans>
                  <am3d:raster rName="Office3DRenderer" rVer="16.0.8326">
                    <am3d:blip r:embed="rId6"/>
                  </am3d:raster>
                  <am3d:objViewport viewportSz="498301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6" name="3D-Modell 15">
                <a:extLst>
                  <a:ext uri="{FF2B5EF4-FFF2-40B4-BE49-F238E27FC236}">
                    <a16:creationId xmlns:a16="http://schemas.microsoft.com/office/drawing/2014/main" id="{BAEE847B-1C39-AD7B-1883-3F7222F8BC3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744494" y="4252187"/>
                <a:ext cx="4469495" cy="2073085"/>
              </a:xfrm>
              <a:prstGeom prst="rect">
                <a:avLst/>
              </a:prstGeom>
            </p:spPr>
          </p:pic>
        </mc:Fallback>
      </mc:AlternateContent>
      <p:pic>
        <p:nvPicPr>
          <p:cNvPr id="18" name="Grafik 17" descr="Ein Bild, das Entwurf, Tanz, Kunst, Schwarzweiß enthält.&#10;&#10;KI-generierte Inhalte können fehlerhaft sein.">
            <a:extLst>
              <a:ext uri="{FF2B5EF4-FFF2-40B4-BE49-F238E27FC236}">
                <a16:creationId xmlns:a16="http://schemas.microsoft.com/office/drawing/2014/main" id="{226CAD2B-1BDE-BD2B-0739-0EF857D6E1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7" t="4260" r="29614" b="-4260"/>
          <a:stretch>
            <a:fillRect/>
          </a:stretch>
        </p:blipFill>
        <p:spPr>
          <a:xfrm>
            <a:off x="8835863" y="-144597"/>
            <a:ext cx="1422562" cy="1944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2693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B7545B-4811-9814-478D-2A81442AD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7FD14B9-3904-A5A2-5829-FB78A62E09C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3077263"/>
            <a:ext cx="12192000" cy="720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FEE37BFD-CFFA-FA9D-5D1A-595081B769F2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19F014CF-3A5E-8193-E8F4-F7D3983773F3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" action="ppaction://noaction"/>
            <a:extLst>
              <a:ext uri="{FF2B5EF4-FFF2-40B4-BE49-F238E27FC236}">
                <a16:creationId xmlns:a16="http://schemas.microsoft.com/office/drawing/2014/main" id="{CB993C7E-2762-E4DC-7A42-C59B7D1C6A3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F4AAF1E5-7135-5328-FAB8-B7E90F563BA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2E0B1867-9A83-B35E-5635-BDC71775937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" action="ppaction://noaction"/>
            <a:extLst>
              <a:ext uri="{FF2B5EF4-FFF2-40B4-BE49-F238E27FC236}">
                <a16:creationId xmlns:a16="http://schemas.microsoft.com/office/drawing/2014/main" id="{E1105747-06C8-A7FC-AF02-9F5A6D6E31A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A6414053-C9DF-7476-409C-4E15B22C3D7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13DC82B3-CB81-3FA6-2FD3-68F638E0F8C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" action="ppaction://noaction"/>
            <a:extLst>
              <a:ext uri="{FF2B5EF4-FFF2-40B4-BE49-F238E27FC236}">
                <a16:creationId xmlns:a16="http://schemas.microsoft.com/office/drawing/2014/main" id="{D114FA47-2BFF-E37D-941F-6E3F4BFD7E1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0087497C-2852-3589-E9E6-A981B437F2C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85FDD26E-8353-C9B4-BD54-A342162B7BF3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" action="ppaction://noaction"/>
            <a:extLst>
              <a:ext uri="{FF2B5EF4-FFF2-40B4-BE49-F238E27FC236}">
                <a16:creationId xmlns:a16="http://schemas.microsoft.com/office/drawing/2014/main" id="{5E52E3CF-058C-4D31-0E3A-A27AE6B7E85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54814FB1-5611-97D5-278B-12BA205A9F5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05842237-3967-91A8-FD2C-615469016530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" action="ppaction://noaction"/>
            <a:extLst>
              <a:ext uri="{FF2B5EF4-FFF2-40B4-BE49-F238E27FC236}">
                <a16:creationId xmlns:a16="http://schemas.microsoft.com/office/drawing/2014/main" id="{BDD6F486-B5B6-61B8-64CE-3873C9659F3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BF7F0DD3-B58F-8F40-BDB8-BEF6CBA75BC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01C43B61-5702-E713-EF94-6563836604B5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5" action="ppaction://hlinksldjump"/>
            <a:extLst>
              <a:ext uri="{FF2B5EF4-FFF2-40B4-BE49-F238E27FC236}">
                <a16:creationId xmlns:a16="http://schemas.microsoft.com/office/drawing/2014/main" id="{321C23F6-CB79-BFB7-B740-E13EA1B76DC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5" action="ppaction://hlinksldjump"/>
            <a:extLst>
              <a:ext uri="{FF2B5EF4-FFF2-40B4-BE49-F238E27FC236}">
                <a16:creationId xmlns:a16="http://schemas.microsoft.com/office/drawing/2014/main" id="{BF2E8339-C861-A429-5715-6CFF6B235C7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35A782D1-A928-E795-5A72-F55641BB16CD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CC3AC22F-4072-5A2B-CE19-40E212686E9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700D8651-802A-F13D-37FB-A0DA3A0A3667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5DEF3406-15C9-454E-C42D-C682110913D1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15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41027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C181E-D138-5588-0888-DDD427732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5CA55351-949F-AAD8-6946-4DCC8DDEE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DA1999F5-048D-085D-2C32-2B58C9D4904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Master-Slave Prinzip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BE259429-C1C9-7DD1-5701-70F5183EE695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A1096104-BED3-CBFC-2706-9B3C82CE1C4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D6328D-5840-1ACE-5FDC-3AC710376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5" b="46700"/>
          <a:stretch/>
        </p:blipFill>
        <p:spPr>
          <a:xfrm>
            <a:off x="1384507" y="1264994"/>
            <a:ext cx="9582942" cy="465567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0D54B37-F747-B4D9-3E33-72435AF18D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98" y="1482709"/>
            <a:ext cx="1687123" cy="168712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F9F1D1B-1918-A859-1BCB-39F8BC8D4271}"/>
              </a:ext>
            </a:extLst>
          </p:cNvPr>
          <p:cNvCxnSpPr>
            <a:cxnSpLocks/>
          </p:cNvCxnSpPr>
          <p:nvPr/>
        </p:nvCxnSpPr>
        <p:spPr>
          <a:xfrm>
            <a:off x="3691221" y="2315384"/>
            <a:ext cx="43446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4078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88BB24-E23B-CC78-4CFB-5653641640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06F4761E-AE66-A408-55D5-BDC7D831D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0E8FC38E-FD8F-5D61-2834-8643047981F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Antriebsmechanik Drehplatte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230D549-318D-292B-1909-71A60693712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DD4E4C77-A72A-1BE7-36CA-EE594F9B8B8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6A15437-7C86-C9BE-FAB8-50C39DF6AB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5" t="32534" r="69302" b="45982"/>
          <a:stretch/>
        </p:blipFill>
        <p:spPr>
          <a:xfrm>
            <a:off x="4607890" y="3761943"/>
            <a:ext cx="3148314" cy="2332465"/>
          </a:xfrm>
          <a:prstGeom prst="rect">
            <a:avLst/>
          </a:prstGeom>
        </p:spPr>
      </p:pic>
      <p:pic>
        <p:nvPicPr>
          <p:cNvPr id="4098" name="Picture 2" descr="Schrittmotor NEMA 17, 1,8 °, 1,2 A, 4,8 V">
            <a:extLst>
              <a:ext uri="{FF2B5EF4-FFF2-40B4-BE49-F238E27FC236}">
                <a16:creationId xmlns:a16="http://schemas.microsoft.com/office/drawing/2014/main" id="{A8EDDF1E-C137-7F8B-D1D5-080F11949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7207" y="1440941"/>
            <a:ext cx="1803313" cy="1803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10mm Lichtschranke LM393 Photoelectric Counter Modul for Arduino Raspberry Pi">
            <a:extLst>
              <a:ext uri="{FF2B5EF4-FFF2-40B4-BE49-F238E27FC236}">
                <a16:creationId xmlns:a16="http://schemas.microsoft.com/office/drawing/2014/main" id="{860D0D31-A498-4B2C-343C-441A4392A0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5" t="12760" r="16817" b="16911"/>
          <a:stretch/>
        </p:blipFill>
        <p:spPr bwMode="auto">
          <a:xfrm>
            <a:off x="426598" y="1258095"/>
            <a:ext cx="1290785" cy="1339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Original High Torque and performance Full Metal Digital Servo Motor 30">
            <a:extLst>
              <a:ext uri="{FF2B5EF4-FFF2-40B4-BE49-F238E27FC236}">
                <a16:creationId xmlns:a16="http://schemas.microsoft.com/office/drawing/2014/main" id="{126E32D8-1EDA-4217-8889-9635AB7E1B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0" b="13417"/>
          <a:stretch/>
        </p:blipFill>
        <p:spPr bwMode="auto">
          <a:xfrm>
            <a:off x="681744" y="4515402"/>
            <a:ext cx="2480482" cy="1837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AF097368-DF3B-084C-9ECE-AE325B4C51D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0970" t="14527" r="9905" b="26895"/>
          <a:stretch/>
        </p:blipFill>
        <p:spPr>
          <a:xfrm>
            <a:off x="9009670" y="1258095"/>
            <a:ext cx="2767308" cy="2048677"/>
          </a:xfrm>
          <a:prstGeom prst="rect">
            <a:avLst/>
          </a:prstGeom>
        </p:spPr>
      </p:pic>
      <p:pic>
        <p:nvPicPr>
          <p:cNvPr id="4106" name="Picture 10">
            <a:extLst>
              <a:ext uri="{FF2B5EF4-FFF2-40B4-BE49-F238E27FC236}">
                <a16:creationId xmlns:a16="http://schemas.microsoft.com/office/drawing/2014/main" id="{2A7153AF-7C89-FA15-6985-B204072EAA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0" t="43207" r="35429" b="12912"/>
          <a:stretch/>
        </p:blipFill>
        <p:spPr bwMode="auto">
          <a:xfrm>
            <a:off x="9201868" y="4183543"/>
            <a:ext cx="2083443" cy="170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dditionszeichen 5">
            <a:extLst>
              <a:ext uri="{FF2B5EF4-FFF2-40B4-BE49-F238E27FC236}">
                <a16:creationId xmlns:a16="http://schemas.microsoft.com/office/drawing/2014/main" id="{131251F0-18D2-70D8-AA57-7A279E45938E}"/>
              </a:ext>
            </a:extLst>
          </p:cNvPr>
          <p:cNvSpPr/>
          <p:nvPr/>
        </p:nvSpPr>
        <p:spPr>
          <a:xfrm>
            <a:off x="10126627" y="3287958"/>
            <a:ext cx="914400" cy="914400"/>
          </a:xfrm>
          <a:prstGeom prst="mathPlus">
            <a:avLst>
              <a:gd name="adj1" fmla="val 1339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5B66C03-6087-AFCE-60DE-65F865BA927A}"/>
              </a:ext>
            </a:extLst>
          </p:cNvPr>
          <p:cNvCxnSpPr>
            <a:stCxn id="9" idx="3"/>
            <a:endCxn id="4106" idx="1"/>
          </p:cNvCxnSpPr>
          <p:nvPr/>
        </p:nvCxnSpPr>
        <p:spPr>
          <a:xfrm>
            <a:off x="7756204" y="4928176"/>
            <a:ext cx="1445664" cy="107090"/>
          </a:xfrm>
          <a:prstGeom prst="straightConnector1">
            <a:avLst/>
          </a:prstGeom>
          <a:ln w="698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9FD321AC-D065-BB99-DBBC-43298DE8B8F2}"/>
              </a:ext>
            </a:extLst>
          </p:cNvPr>
          <p:cNvSpPr/>
          <p:nvPr/>
        </p:nvSpPr>
        <p:spPr>
          <a:xfrm>
            <a:off x="1781234" y="1526877"/>
            <a:ext cx="914400" cy="914400"/>
          </a:xfrm>
          <a:prstGeom prst="mathPlus">
            <a:avLst>
              <a:gd name="adj1" fmla="val 1339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5E3D3056-6AAC-B6D6-18BD-69F5CB10DD04}"/>
              </a:ext>
            </a:extLst>
          </p:cNvPr>
          <p:cNvCxnSpPr>
            <a:cxnSpLocks/>
            <a:stCxn id="9" idx="0"/>
          </p:cNvCxnSpPr>
          <p:nvPr/>
        </p:nvCxnSpPr>
        <p:spPr>
          <a:xfrm flipH="1" flipV="1">
            <a:off x="4607890" y="2893671"/>
            <a:ext cx="1574157" cy="868272"/>
          </a:xfrm>
          <a:prstGeom prst="straightConnector1">
            <a:avLst/>
          </a:prstGeom>
          <a:ln w="698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7791476-1A33-F53B-69E6-C555A914ADA3}"/>
              </a:ext>
            </a:extLst>
          </p:cNvPr>
          <p:cNvCxnSpPr>
            <a:cxnSpLocks/>
            <a:stCxn id="9" idx="1"/>
            <a:endCxn id="4102" idx="3"/>
          </p:cNvCxnSpPr>
          <p:nvPr/>
        </p:nvCxnSpPr>
        <p:spPr>
          <a:xfrm flipH="1">
            <a:off x="3162226" y="4928176"/>
            <a:ext cx="1445664" cy="506156"/>
          </a:xfrm>
          <a:prstGeom prst="straightConnector1">
            <a:avLst/>
          </a:prstGeom>
          <a:ln w="698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66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A40945-EEC7-42DA-0DA6-DD3BCCEAA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C42810-FFB7-02D9-9556-F2B08E1C331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Roboterarm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62C8296-B1AD-5E32-75D4-776305E34B5A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E75A-528E-5C57-E9D4-A1A46F79757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985A03A-3A82-E128-A4E8-FA643EF57F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5" t="32534" r="69302" b="45982"/>
          <a:stretch/>
        </p:blipFill>
        <p:spPr>
          <a:xfrm>
            <a:off x="1822366" y="3763372"/>
            <a:ext cx="3148314" cy="2332465"/>
          </a:xfrm>
          <a:prstGeom prst="rect">
            <a:avLst/>
          </a:prstGeom>
        </p:spPr>
      </p:pic>
      <p:pic>
        <p:nvPicPr>
          <p:cNvPr id="10" name="Picture 6" descr="Original High Torque and performance Full Metal Digital Servo Motor 30">
            <a:extLst>
              <a:ext uri="{FF2B5EF4-FFF2-40B4-BE49-F238E27FC236}">
                <a16:creationId xmlns:a16="http://schemas.microsoft.com/office/drawing/2014/main" id="{5746ED62-054D-4033-2B5A-8DE4143E55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0" b="13417"/>
          <a:stretch/>
        </p:blipFill>
        <p:spPr bwMode="auto">
          <a:xfrm>
            <a:off x="2583432" y="1974319"/>
            <a:ext cx="2028325" cy="1502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4BBB439-3229-E7A3-EA39-CF94D8682BA6}"/>
              </a:ext>
            </a:extLst>
          </p:cNvPr>
          <p:cNvSpPr txBox="1"/>
          <p:nvPr/>
        </p:nvSpPr>
        <p:spPr>
          <a:xfrm>
            <a:off x="1958169" y="2359051"/>
            <a:ext cx="914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6x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15AFBEF-AAD8-D6CF-F2C5-275ACE20F7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7711" y="1495520"/>
            <a:ext cx="5716948" cy="4991204"/>
          </a:xfrm>
          <a:prstGeom prst="rect">
            <a:avLst/>
          </a:prstGeom>
        </p:spPr>
      </p:pic>
      <p:sp>
        <p:nvSpPr>
          <p:cNvPr id="14" name="Pfeil: nach rechts gekrümmt 13">
            <a:extLst>
              <a:ext uri="{FF2B5EF4-FFF2-40B4-BE49-F238E27FC236}">
                <a16:creationId xmlns:a16="http://schemas.microsoft.com/office/drawing/2014/main" id="{8E38516E-7A28-A4F4-7492-48249614E6C4}"/>
              </a:ext>
            </a:extLst>
          </p:cNvPr>
          <p:cNvSpPr/>
          <p:nvPr/>
        </p:nvSpPr>
        <p:spPr>
          <a:xfrm rot="21435618">
            <a:off x="7790741" y="4880291"/>
            <a:ext cx="308513" cy="651028"/>
          </a:xfrm>
          <a:prstGeom prst="curvedRight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5" name="Pfeil: nach unten gekrümmt 14">
            <a:extLst>
              <a:ext uri="{FF2B5EF4-FFF2-40B4-BE49-F238E27FC236}">
                <a16:creationId xmlns:a16="http://schemas.microsoft.com/office/drawing/2014/main" id="{5E78F75F-585E-945D-9683-0BE0969984E6}"/>
              </a:ext>
            </a:extLst>
          </p:cNvPr>
          <p:cNvSpPr/>
          <p:nvPr/>
        </p:nvSpPr>
        <p:spPr>
          <a:xfrm rot="10800000">
            <a:off x="8524384" y="4486422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6" name="Pfeil: nach unten gekrümmt 15">
            <a:extLst>
              <a:ext uri="{FF2B5EF4-FFF2-40B4-BE49-F238E27FC236}">
                <a16:creationId xmlns:a16="http://schemas.microsoft.com/office/drawing/2014/main" id="{C79A38CE-A9F5-832B-940F-20D030580FDC}"/>
              </a:ext>
            </a:extLst>
          </p:cNvPr>
          <p:cNvSpPr/>
          <p:nvPr/>
        </p:nvSpPr>
        <p:spPr>
          <a:xfrm rot="16200000">
            <a:off x="7107064" y="2771922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7" name="Pfeil: nach unten gekrümmt 16">
            <a:extLst>
              <a:ext uri="{FF2B5EF4-FFF2-40B4-BE49-F238E27FC236}">
                <a16:creationId xmlns:a16="http://schemas.microsoft.com/office/drawing/2014/main" id="{CD654730-1FA3-6060-978A-E000021A23BF}"/>
              </a:ext>
            </a:extLst>
          </p:cNvPr>
          <p:cNvSpPr/>
          <p:nvPr/>
        </p:nvSpPr>
        <p:spPr>
          <a:xfrm rot="19658025">
            <a:off x="8883298" y="1637757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8" name="Pfeil: nach rechts gekrümmt 17">
            <a:extLst>
              <a:ext uri="{FF2B5EF4-FFF2-40B4-BE49-F238E27FC236}">
                <a16:creationId xmlns:a16="http://schemas.microsoft.com/office/drawing/2014/main" id="{AC90439C-396F-DD64-43D2-173175E6DD61}"/>
              </a:ext>
            </a:extLst>
          </p:cNvPr>
          <p:cNvSpPr/>
          <p:nvPr/>
        </p:nvSpPr>
        <p:spPr>
          <a:xfrm rot="21435618">
            <a:off x="8545121" y="1651703"/>
            <a:ext cx="308513" cy="651028"/>
          </a:xfrm>
          <a:prstGeom prst="curvedRight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D704216-855B-C185-2D97-28CD98E5BF18}"/>
              </a:ext>
            </a:extLst>
          </p:cNvPr>
          <p:cNvSpPr/>
          <p:nvPr/>
        </p:nvSpPr>
        <p:spPr>
          <a:xfrm>
            <a:off x="7189941" y="4928806"/>
            <a:ext cx="585417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 b="0" i="0">
                <a:solidFill>
                  <a:srgbClr val="1F1F1F"/>
                </a:solidFill>
                <a:effectLst/>
                <a:latin typeface="Google Sans"/>
              </a:rPr>
              <a:t>1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FBBB654-A206-BE4C-3522-819E662CF4A0}"/>
              </a:ext>
            </a:extLst>
          </p:cNvPr>
          <p:cNvSpPr/>
          <p:nvPr/>
        </p:nvSpPr>
        <p:spPr>
          <a:xfrm>
            <a:off x="9227588" y="4486422"/>
            <a:ext cx="585417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2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4C5FDA8-3461-4F4A-E92E-AE2B0A571070}"/>
              </a:ext>
            </a:extLst>
          </p:cNvPr>
          <p:cNvSpPr/>
          <p:nvPr/>
        </p:nvSpPr>
        <p:spPr>
          <a:xfrm>
            <a:off x="6793145" y="2702006"/>
            <a:ext cx="585417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3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0F64A24-ADC2-9E18-595C-0EE488FFF1F9}"/>
              </a:ext>
            </a:extLst>
          </p:cNvPr>
          <p:cNvSpPr/>
          <p:nvPr/>
        </p:nvSpPr>
        <p:spPr>
          <a:xfrm>
            <a:off x="7988307" y="1534408"/>
            <a:ext cx="585417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 b="0" i="0">
                <a:solidFill>
                  <a:srgbClr val="1F1F1F"/>
                </a:solidFill>
                <a:effectLst/>
                <a:latin typeface="Google Sans"/>
              </a:rPr>
              <a:t>5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825A5797-5168-1ED5-2AD4-214263248AF0}"/>
              </a:ext>
            </a:extLst>
          </p:cNvPr>
          <p:cNvSpPr/>
          <p:nvPr/>
        </p:nvSpPr>
        <p:spPr>
          <a:xfrm>
            <a:off x="9139467" y="1085430"/>
            <a:ext cx="585417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4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66908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16AE45-C248-A3C3-A7E0-894F53CB5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AE967F-B01C-9386-7BC2-979628CE9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2F3E51-D0DA-CCC2-672D-997F6179FE7D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Multithreadi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BA9B1A-043E-2DD7-4126-01CC4DC72974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BEC04F-D6DA-08E9-3847-12319BD099D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028" name="Picture 4" descr="Neuer Raspberry Pi 2B mit gedrosseltem BCM2837-SoC des RPi 3 ...">
            <a:extLst>
              <a:ext uri="{FF2B5EF4-FFF2-40B4-BE49-F238E27FC236}">
                <a16:creationId xmlns:a16="http://schemas.microsoft.com/office/drawing/2014/main" id="{FED45A5D-E2F9-4966-8306-E638A9200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9" y="2344114"/>
            <a:ext cx="3893396" cy="2559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93D2ED49-507B-E778-A7FE-8BA49E7A7516}"/>
              </a:ext>
            </a:extLst>
          </p:cNvPr>
          <p:cNvSpPr/>
          <p:nvPr/>
        </p:nvSpPr>
        <p:spPr>
          <a:xfrm>
            <a:off x="4985658" y="1773773"/>
            <a:ext cx="3214554" cy="189001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AC12146-A14C-C3BD-A7FC-38A34507E3CD}"/>
              </a:ext>
            </a:extLst>
          </p:cNvPr>
          <p:cNvSpPr txBox="1"/>
          <p:nvPr/>
        </p:nvSpPr>
        <p:spPr>
          <a:xfrm>
            <a:off x="5240797" y="1963105"/>
            <a:ext cx="30588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chemeClr val="bg1"/>
                </a:solidFill>
              </a:rPr>
              <a:t>Thread 1: </a:t>
            </a:r>
            <a:r>
              <a:rPr lang="de-DE" sz="2000" b="1" err="1">
                <a:solidFill>
                  <a:schemeClr val="bg1"/>
                </a:solidFill>
              </a:rPr>
              <a:t>workerSafety</a:t>
            </a:r>
            <a:r>
              <a:rPr lang="de-DE" sz="2000" b="1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D5AAF48-2491-8940-4C8A-800AF720B65F}"/>
              </a:ext>
            </a:extLst>
          </p:cNvPr>
          <p:cNvSpPr/>
          <p:nvPr/>
        </p:nvSpPr>
        <p:spPr>
          <a:xfrm>
            <a:off x="8651148" y="1773773"/>
            <a:ext cx="3214554" cy="4441372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0CD1ED8-DE77-6BBA-8DD1-B72B2DE129AA}"/>
              </a:ext>
            </a:extLst>
          </p:cNvPr>
          <p:cNvSpPr txBox="1"/>
          <p:nvPr/>
        </p:nvSpPr>
        <p:spPr>
          <a:xfrm>
            <a:off x="8853353" y="1963106"/>
            <a:ext cx="30588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chemeClr val="bg1"/>
                </a:solidFill>
              </a:rPr>
              <a:t>Thread 2: </a:t>
            </a:r>
            <a:r>
              <a:rPr lang="de-DE" sz="2000" b="1" err="1">
                <a:solidFill>
                  <a:schemeClr val="bg1"/>
                </a:solidFill>
              </a:rPr>
              <a:t>workerArduino</a:t>
            </a:r>
            <a:r>
              <a:rPr lang="de-DE" sz="2000" b="1">
                <a:solidFill>
                  <a:schemeClr val="bg1"/>
                </a:solidFill>
              </a:rPr>
              <a:t>()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1E07753-56AA-A9FF-92A6-88F20DB55C0E}"/>
              </a:ext>
            </a:extLst>
          </p:cNvPr>
          <p:cNvCxnSpPr>
            <a:cxnSpLocks/>
          </p:cNvCxnSpPr>
          <p:nvPr/>
        </p:nvCxnSpPr>
        <p:spPr>
          <a:xfrm>
            <a:off x="4985658" y="2460171"/>
            <a:ext cx="688004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42A632C9-34C4-2FD7-4E08-C87BDC698E95}"/>
              </a:ext>
            </a:extLst>
          </p:cNvPr>
          <p:cNvSpPr txBox="1"/>
          <p:nvPr/>
        </p:nvSpPr>
        <p:spPr>
          <a:xfrm>
            <a:off x="5096149" y="2700222"/>
            <a:ext cx="2993571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Notau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Türschalter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1B3E0D6-30E7-4889-22FA-FCBD157E2028}"/>
              </a:ext>
            </a:extLst>
          </p:cNvPr>
          <p:cNvSpPr txBox="1"/>
          <p:nvPr/>
        </p:nvSpPr>
        <p:spPr>
          <a:xfrm>
            <a:off x="8774155" y="2649460"/>
            <a:ext cx="2993571" cy="33137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Befehle an die Arduino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I2C Codes: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10 = Gummiband abziehen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20 = Test Roboterarm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90 = Kalibrierung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98 = </a:t>
            </a:r>
            <a:r>
              <a:rPr lang="de-DE" err="1">
                <a:solidFill>
                  <a:schemeClr val="bg1"/>
                </a:solidFill>
                <a:latin typeface="ZEISS Frutiger Next W1G"/>
              </a:rPr>
              <a:t>Continue</a:t>
            </a:r>
            <a:endParaRPr lang="de-DE">
              <a:solidFill>
                <a:schemeClr val="bg1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99 = </a:t>
            </a:r>
            <a:r>
              <a:rPr lang="de-DE" err="1">
                <a:solidFill>
                  <a:schemeClr val="bg1"/>
                </a:solidFill>
                <a:latin typeface="ZEISS Frutiger Next W1G"/>
              </a:rPr>
              <a:t>Stop</a:t>
            </a:r>
            <a:r>
              <a:rPr lang="de-DE">
                <a:solidFill>
                  <a:schemeClr val="bg1"/>
                </a:solidFill>
                <a:latin typeface="ZEISS Frutiger Next W1G"/>
              </a:rPr>
              <a:t>!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1278E32-D975-E583-2A6C-24432FA3472A}"/>
              </a:ext>
            </a:extLst>
          </p:cNvPr>
          <p:cNvSpPr/>
          <p:nvPr/>
        </p:nvSpPr>
        <p:spPr>
          <a:xfrm>
            <a:off x="4985658" y="4350186"/>
            <a:ext cx="3214554" cy="189001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8ECAA7F0-2EF2-7499-F60E-079376133A9F}"/>
              </a:ext>
            </a:extLst>
          </p:cNvPr>
          <p:cNvSpPr txBox="1"/>
          <p:nvPr/>
        </p:nvSpPr>
        <p:spPr>
          <a:xfrm>
            <a:off x="5240797" y="4539518"/>
            <a:ext cx="30588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chemeClr val="bg1"/>
                </a:solidFill>
              </a:rPr>
              <a:t>Thread 2: </a:t>
            </a:r>
            <a:r>
              <a:rPr lang="de-DE" sz="2000" b="1" err="1">
                <a:solidFill>
                  <a:schemeClr val="bg1"/>
                </a:solidFill>
              </a:rPr>
              <a:t>workerUI</a:t>
            </a:r>
            <a:r>
              <a:rPr lang="de-DE" sz="2000" b="1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52C60C8E-2B7C-1167-149C-F7F9A525C39D}"/>
              </a:ext>
            </a:extLst>
          </p:cNvPr>
          <p:cNvSpPr txBox="1"/>
          <p:nvPr/>
        </p:nvSpPr>
        <p:spPr>
          <a:xfrm>
            <a:off x="5096149" y="5461691"/>
            <a:ext cx="2993571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>
                <a:solidFill>
                  <a:schemeClr val="bg1"/>
                </a:solidFill>
                <a:latin typeface="ZEISS Frutiger Next W1G"/>
              </a:rPr>
              <a:t>Kommunikation mit dem M5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>
              <a:solidFill>
                <a:schemeClr val="bg1"/>
              </a:solidFill>
              <a:latin typeface="ZEISS Frutiger Next W1G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287CD6F-43D3-2B0C-3084-61CDE1A40876}"/>
              </a:ext>
            </a:extLst>
          </p:cNvPr>
          <p:cNvCxnSpPr>
            <a:cxnSpLocks/>
          </p:cNvCxnSpPr>
          <p:nvPr/>
        </p:nvCxnSpPr>
        <p:spPr>
          <a:xfrm>
            <a:off x="4985658" y="5040086"/>
            <a:ext cx="321455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94757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8AEF7234-8B73-95BC-3551-9DF1CCE70E9D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70FC0239-FE5B-94C2-DB13-A654285812F7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rId24" action="ppaction://hlinksldjump"/>
            <a:extLst>
              <a:ext uri="{FF2B5EF4-FFF2-40B4-BE49-F238E27FC236}">
                <a16:creationId xmlns:a16="http://schemas.microsoft.com/office/drawing/2014/main" id="{97E2B884-2D28-CE00-D4E9-C48E3628E8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0C46B89C-E1E8-E0D6-3120-6A724D93DD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4662FB33-2514-C621-1C8E-8EDC4F995485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rId25" action="ppaction://hlinksldjump"/>
            <a:extLst>
              <a:ext uri="{FF2B5EF4-FFF2-40B4-BE49-F238E27FC236}">
                <a16:creationId xmlns:a16="http://schemas.microsoft.com/office/drawing/2014/main" id="{A9DC67A8-C3B8-8257-E624-EDFAF690475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BC0FDE1A-0603-6F29-2DB9-AAFD733D550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B0BCC586-3E67-5595-4A56-AD1E75CCEA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rId26" action="ppaction://hlinksldjump"/>
            <a:extLst>
              <a:ext uri="{FF2B5EF4-FFF2-40B4-BE49-F238E27FC236}">
                <a16:creationId xmlns:a16="http://schemas.microsoft.com/office/drawing/2014/main" id="{BBAC7757-1FFD-E2DC-ED30-10851862F5A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3B4CE62A-3C04-ED8E-4117-D5A9B747AD3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A88690F8-2067-283A-DB28-C0AD0F1AB0E8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rId27" action="ppaction://hlinksldjump"/>
            <a:extLst>
              <a:ext uri="{FF2B5EF4-FFF2-40B4-BE49-F238E27FC236}">
                <a16:creationId xmlns:a16="http://schemas.microsoft.com/office/drawing/2014/main" id="{07EAC01C-8423-0782-4765-4491E85C8E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DFF9F9A3-AF24-C8AD-3A65-78122E23EC3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E5283BF0-9A34-B20F-9D9C-3A4EF1623D36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rId28" action="ppaction://hlinksldjump"/>
            <a:extLst>
              <a:ext uri="{FF2B5EF4-FFF2-40B4-BE49-F238E27FC236}">
                <a16:creationId xmlns:a16="http://schemas.microsoft.com/office/drawing/2014/main" id="{644BCB15-2DBB-B3DF-CF52-C8E9741682A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rId25" action="ppaction://hlinksldjump"/>
            <a:extLst>
              <a:ext uri="{FF2B5EF4-FFF2-40B4-BE49-F238E27FC236}">
                <a16:creationId xmlns:a16="http://schemas.microsoft.com/office/drawing/2014/main" id="{6DF70B92-3E57-BCA6-2845-6846CE67C86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39D0612F-93D0-15C9-F270-DC7CAA9FBE81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9" action="ppaction://hlinksldjump"/>
            <a:extLst>
              <a:ext uri="{FF2B5EF4-FFF2-40B4-BE49-F238E27FC236}">
                <a16:creationId xmlns:a16="http://schemas.microsoft.com/office/drawing/2014/main" id="{4B33A7E3-CD6B-1D47-D385-F5697DB3907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9" action="ppaction://hlinksldjump"/>
            <a:extLst>
              <a:ext uri="{FF2B5EF4-FFF2-40B4-BE49-F238E27FC236}">
                <a16:creationId xmlns:a16="http://schemas.microsoft.com/office/drawing/2014/main" id="{F7AB7BEA-EAED-6667-17BE-CE1655CA09F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98AB8393-D7AE-903E-219A-985654B3575F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726E945E-91B7-B869-529E-6F3B5800A111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CA5E931E-801F-5FFB-D189-50D785EB2CC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3BB66AA5-4B7C-2F44-5823-118EA5A5E1CD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2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9647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802E0F82-F253-A8F9-9346-69525FCC0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323" y="1510528"/>
            <a:ext cx="4187323" cy="4187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41E1B5-8DDE-D95A-D693-A58AD587C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64FACB-21EC-2243-B5AB-90C5FDEE1C6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Bedienelement: Smart Knob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4A9A5E-CD60-A05D-0C53-A58A7C7859E8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5407AD-0220-5BEA-5896-087F006A2428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1" name="Bogen 10">
            <a:extLst>
              <a:ext uri="{FF2B5EF4-FFF2-40B4-BE49-F238E27FC236}">
                <a16:creationId xmlns:a16="http://schemas.microsoft.com/office/drawing/2014/main" id="{47CAC802-A666-FE47-7B4C-50B0CEEAADD2}"/>
              </a:ext>
            </a:extLst>
          </p:cNvPr>
          <p:cNvSpPr/>
          <p:nvPr/>
        </p:nvSpPr>
        <p:spPr>
          <a:xfrm rot="5400000">
            <a:off x="1809938" y="3155025"/>
            <a:ext cx="1575757" cy="1877683"/>
          </a:xfrm>
          <a:prstGeom prst="arc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41A8D84F-4BB9-94B9-859F-14F3109A81F2}"/>
              </a:ext>
            </a:extLst>
          </p:cNvPr>
          <p:cNvSpPr/>
          <p:nvPr/>
        </p:nvSpPr>
        <p:spPr>
          <a:xfrm>
            <a:off x="3395574" y="4039233"/>
            <a:ext cx="269949" cy="109268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4" name="Gleichschenkliges Dreieck 13">
            <a:extLst>
              <a:ext uri="{FF2B5EF4-FFF2-40B4-BE49-F238E27FC236}">
                <a16:creationId xmlns:a16="http://schemas.microsoft.com/office/drawing/2014/main" id="{64181BC0-14B3-2C27-39F8-239C80A24CC9}"/>
              </a:ext>
            </a:extLst>
          </p:cNvPr>
          <p:cNvSpPr/>
          <p:nvPr/>
        </p:nvSpPr>
        <p:spPr>
          <a:xfrm rot="16200000">
            <a:off x="2462842" y="4843616"/>
            <a:ext cx="269949" cy="109268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2635084-B028-B537-CB37-3C7333C10420}"/>
              </a:ext>
            </a:extLst>
          </p:cNvPr>
          <p:cNvCxnSpPr>
            <a:cxnSpLocks/>
          </p:cNvCxnSpPr>
          <p:nvPr/>
        </p:nvCxnSpPr>
        <p:spPr>
          <a:xfrm>
            <a:off x="1764457" y="4093866"/>
            <a:ext cx="0" cy="417442"/>
          </a:xfrm>
          <a:prstGeom prst="straightConnector1">
            <a:avLst/>
          </a:prstGeom>
          <a:ln w="57150">
            <a:solidFill>
              <a:srgbClr val="A702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33FC264-8C29-742C-B7E8-ED96C8A84D81}"/>
              </a:ext>
            </a:extLst>
          </p:cNvPr>
          <p:cNvSpPr txBox="1"/>
          <p:nvPr/>
        </p:nvSpPr>
        <p:spPr>
          <a:xfrm>
            <a:off x="4862969" y="1670547"/>
            <a:ext cx="6948706" cy="318035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uswahl: Drehen         am Rand und bestätigen durch drücken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Menü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Start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top</a:t>
            </a: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(Robot)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bout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</a:endParaRPr>
          </a:p>
        </p:txBody>
      </p:sp>
      <p:sp>
        <p:nvSpPr>
          <p:cNvPr id="21" name="Bogen 20">
            <a:extLst>
              <a:ext uri="{FF2B5EF4-FFF2-40B4-BE49-F238E27FC236}">
                <a16:creationId xmlns:a16="http://schemas.microsoft.com/office/drawing/2014/main" id="{BAC46B24-8EFA-0998-D00C-4CE0D62141A0}"/>
              </a:ext>
            </a:extLst>
          </p:cNvPr>
          <p:cNvSpPr/>
          <p:nvPr/>
        </p:nvSpPr>
        <p:spPr>
          <a:xfrm rot="5400000">
            <a:off x="6516439" y="1348777"/>
            <a:ext cx="705682" cy="716214"/>
          </a:xfrm>
          <a:prstGeom prst="arc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E999FE7E-A979-80AF-4DB9-8ACF272D2EFE}"/>
              </a:ext>
            </a:extLst>
          </p:cNvPr>
          <p:cNvSpPr/>
          <p:nvPr/>
        </p:nvSpPr>
        <p:spPr>
          <a:xfrm>
            <a:off x="7156673" y="1661443"/>
            <a:ext cx="141428" cy="90881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5065C9DD-33BF-A92F-2CE9-397CC2B8F40B}"/>
              </a:ext>
            </a:extLst>
          </p:cNvPr>
          <p:cNvSpPr/>
          <p:nvPr/>
        </p:nvSpPr>
        <p:spPr>
          <a:xfrm rot="16200000">
            <a:off x="6732522" y="2010989"/>
            <a:ext cx="170551" cy="102968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767E0C59-AA40-44D7-D845-A215739DE582}"/>
              </a:ext>
            </a:extLst>
          </p:cNvPr>
          <p:cNvCxnSpPr>
            <a:cxnSpLocks/>
          </p:cNvCxnSpPr>
          <p:nvPr/>
        </p:nvCxnSpPr>
        <p:spPr>
          <a:xfrm>
            <a:off x="11677082" y="1642283"/>
            <a:ext cx="0" cy="417442"/>
          </a:xfrm>
          <a:prstGeom prst="straightConnector1">
            <a:avLst/>
          </a:prstGeom>
          <a:ln w="57150">
            <a:solidFill>
              <a:srgbClr val="A702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613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4FB0865-0C33-F85C-A54E-88186FF3CC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4211" y="3172492"/>
            <a:ext cx="2923345" cy="292334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ACD875-9CE5-6D68-1C6B-214EC0B34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29CDB0-FAD4-B436-74BD-9B70878DF05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Sicherhei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241462-B4F3-A3A6-4CD9-F1A178C4BCE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5938" y="1563678"/>
            <a:ext cx="5433219" cy="4464000"/>
          </a:xfrm>
        </p:spPr>
        <p:txBody>
          <a:bodyPr/>
          <a:lstStyle/>
          <a:p>
            <a:r>
              <a:rPr lang="de-DE" sz="2000"/>
              <a:t>Not-Halt-Schalter:</a:t>
            </a:r>
          </a:p>
          <a:p>
            <a:endParaRPr lang="de-DE"/>
          </a:p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F0F733-90AB-450E-5C56-573B0BF3ED6B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3" y="1563678"/>
            <a:ext cx="5433219" cy="4464000"/>
          </a:xfrm>
        </p:spPr>
        <p:txBody>
          <a:bodyPr/>
          <a:lstStyle/>
          <a:p>
            <a:r>
              <a:rPr lang="de-DE" sz="2000"/>
              <a:t>Hauptschalter:</a:t>
            </a:r>
          </a:p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8BEBA5C-DCFD-5978-86FA-731CFF2D9ACF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8A8CEE53-2C13-4F5F-B622-C12C798F824E}" type="datetime4">
              <a:rPr lang="de-DE" smtClean="0"/>
              <a:t>3. Juli 2025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83DD847-78DA-FEEB-852E-5D8ADB2E8D4A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EA16DBD-DFC0-FF94-D8C4-5D83469BBF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36" t="10992" b="18306"/>
          <a:stretch/>
        </p:blipFill>
        <p:spPr>
          <a:xfrm>
            <a:off x="556011" y="2230136"/>
            <a:ext cx="2168563" cy="1633701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FD46398-5C89-A7A1-4CC2-2B671B54BD91}"/>
              </a:ext>
            </a:extLst>
          </p:cNvPr>
          <p:cNvSpPr/>
          <p:nvPr/>
        </p:nvSpPr>
        <p:spPr>
          <a:xfrm>
            <a:off x="484081" y="2166836"/>
            <a:ext cx="715617" cy="4174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F8137F1-231D-B39D-7E23-037C96CBA7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3017" y="2375558"/>
            <a:ext cx="3922643" cy="3922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90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2A645-F9D7-DAD7-2B1B-F292B7544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2C0BD208-A2D7-F8D7-F322-94C9F03B04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3805430"/>
            <a:ext cx="12192000" cy="7095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38A101D4-7E2A-B642-568D-F0CE72B14BA7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52E5F866-1326-1E65-008E-09B3BAECF529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" action="ppaction://noaction"/>
            <a:extLst>
              <a:ext uri="{FF2B5EF4-FFF2-40B4-BE49-F238E27FC236}">
                <a16:creationId xmlns:a16="http://schemas.microsoft.com/office/drawing/2014/main" id="{7AED48E8-44E0-4BE6-9094-2A6AEF9C2D6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FE850E5E-36C5-740C-45F4-1950B2AF426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74F0D64E-20E1-474E-2C2E-8CD3553274E1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" action="ppaction://noaction"/>
            <a:extLst>
              <a:ext uri="{FF2B5EF4-FFF2-40B4-BE49-F238E27FC236}">
                <a16:creationId xmlns:a16="http://schemas.microsoft.com/office/drawing/2014/main" id="{1ADFFF07-F732-C8E9-15C2-1D977C92068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E69B4013-DD35-C772-F74E-8CDF1D11EB1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CA6E771B-E745-AEB3-9F02-023F4CAF4703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" action="ppaction://noaction"/>
            <a:extLst>
              <a:ext uri="{FF2B5EF4-FFF2-40B4-BE49-F238E27FC236}">
                <a16:creationId xmlns:a16="http://schemas.microsoft.com/office/drawing/2014/main" id="{49F03FF7-B055-0624-ADA8-BD8F97B33AF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bg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3D9824FC-97D2-A13C-9763-ECC398B1FE0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95402728-24CB-E87E-106C-294C79402288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" action="ppaction://noaction"/>
            <a:extLst>
              <a:ext uri="{FF2B5EF4-FFF2-40B4-BE49-F238E27FC236}">
                <a16:creationId xmlns:a16="http://schemas.microsoft.com/office/drawing/2014/main" id="{1B835589-2F38-F693-37C1-01673E86979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531DABC1-E6D8-69FB-9E9E-1F21E380196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B9B12A99-D791-9BB4-E970-B24DA2894D28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" action="ppaction://noaction"/>
            <a:extLst>
              <a:ext uri="{FF2B5EF4-FFF2-40B4-BE49-F238E27FC236}">
                <a16:creationId xmlns:a16="http://schemas.microsoft.com/office/drawing/2014/main" id="{D6E0070A-B907-5BE5-C572-47A91809735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C8AB8096-E00F-8459-C13F-8748CF41644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D24469B7-4013-5BFE-8E64-F34FBBB89D80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5" action="ppaction://hlinksldjump"/>
            <a:extLst>
              <a:ext uri="{FF2B5EF4-FFF2-40B4-BE49-F238E27FC236}">
                <a16:creationId xmlns:a16="http://schemas.microsoft.com/office/drawing/2014/main" id="{2561BDDF-707C-F82F-E467-E08DB0102C8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5" action="ppaction://hlinksldjump"/>
            <a:extLst>
              <a:ext uri="{FF2B5EF4-FFF2-40B4-BE49-F238E27FC236}">
                <a16:creationId xmlns:a16="http://schemas.microsoft.com/office/drawing/2014/main" id="{DE341E38-1759-1997-EEE8-ADA215F6ECC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4201BD05-49AA-F863-EB19-CE37A7C21FA7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472764B-A35A-CC6C-2D95-D1503DE14056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B6BD4C84-28CA-CAAB-6207-6B6D8FCA4302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6EDEBD7-17BC-D861-9E38-280689722225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22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84619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03548-9B9B-A578-5525-28B1E1782C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C929DF84-D96C-BF3C-26FC-2612433E6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1A825D0-BAEB-DB9B-F027-87535156F87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06C250A2-5C03-6B63-FA71-4844648C0C3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9BF7376-462E-7D20-461E-7676365B030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Budgetplan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E81C354-6838-579A-593B-2029A034F49D}"/>
              </a:ext>
            </a:extLst>
          </p:cNvPr>
          <p:cNvSpPr txBox="1"/>
          <p:nvPr/>
        </p:nvSpPr>
        <p:spPr>
          <a:xfrm>
            <a:off x="841890" y="1306551"/>
            <a:ext cx="5072388" cy="32352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Werbegeschenk</a:t>
            </a:r>
            <a:endParaRPr lang="de-DE" sz="2000">
              <a:latin typeface="ZEISS Frutiger Next W1G"/>
            </a:endParaRPr>
          </a:p>
          <a:p>
            <a:pPr marL="800100" lvl="1" indent="-342900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</a:t>
            </a:r>
            <a:r>
              <a:rPr lang="de-DE" sz="2000" err="1">
                <a:solidFill>
                  <a:srgbClr val="000000"/>
                </a:solidFill>
                <a:latin typeface="ZEISS Frutiger Next W1G"/>
                <a:cs typeface="Arial"/>
              </a:rPr>
              <a:t>Tooling</a:t>
            </a: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-Fertigung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Elektronik</a:t>
            </a:r>
          </a:p>
          <a:p>
            <a:pPr marL="800100" lvl="1" indent="-342900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Servomotoren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Mechanik </a:t>
            </a:r>
          </a:p>
          <a:p>
            <a:pPr marL="800100" lvl="1" indent="-342900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3D-Druck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4E99B5C8-CC39-7582-D8C5-4B292BF63E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8790197"/>
              </p:ext>
            </p:extLst>
          </p:nvPr>
        </p:nvGraphicFramePr>
        <p:xfrm>
          <a:off x="5629204" y="1141619"/>
          <a:ext cx="5850770" cy="3694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4E1D77F2-3D7E-EF33-47A4-7C5866C0EC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449861"/>
              </p:ext>
            </p:extLst>
          </p:nvPr>
        </p:nvGraphicFramePr>
        <p:xfrm>
          <a:off x="2032000" y="4836160"/>
          <a:ext cx="8128000" cy="11988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5782686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1604871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/>
                        <a:t>Budget verbrau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/>
                        <a:t>750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94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>
                          <a:solidFill>
                            <a:schemeClr val="bg1"/>
                          </a:solidFill>
                        </a:rPr>
                        <a:t>Sonstige Ausgaben / Spons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>
                          <a:solidFill>
                            <a:schemeClr val="bg1"/>
                          </a:solidFill>
                        </a:rPr>
                        <a:t>450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7450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400" b="1">
                          <a:solidFill>
                            <a:schemeClr val="bg1"/>
                          </a:solidFill>
                        </a:rPr>
                        <a:t>Gesamtanlagenkost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b="1">
                          <a:solidFill>
                            <a:schemeClr val="bg1"/>
                          </a:solidFill>
                        </a:rPr>
                        <a:t>Ca. 1200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0919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8726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52FFA5-8C21-4983-70D1-1ED85EA5D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1A6F2165-82C9-57E9-FDD0-5821425C6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ostenkalkulatio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05E44D80-FD23-DC58-6180-FF636E199E9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419F22F-B2BA-A1B0-5729-7FFCC4A826DF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16F502B3-8143-4BAA-3FAE-3386AFAEF4E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Zuschlagskalkulation der Montageeinricht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622124-A13D-E92E-1532-1F230556E0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287" y="1153022"/>
            <a:ext cx="8463121" cy="5285312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A7265AA-2780-7157-DFFA-C0DA957F62E1}"/>
              </a:ext>
            </a:extLst>
          </p:cNvPr>
          <p:cNvCxnSpPr>
            <a:cxnSpLocks/>
          </p:cNvCxnSpPr>
          <p:nvPr/>
        </p:nvCxnSpPr>
        <p:spPr>
          <a:xfrm flipH="1">
            <a:off x="8124328" y="2468880"/>
            <a:ext cx="2249032" cy="0"/>
          </a:xfrm>
          <a:prstGeom prst="straightConnector1">
            <a:avLst/>
          </a:prstGeom>
          <a:ln>
            <a:solidFill>
              <a:srgbClr val="FF1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91895C82-0177-EF80-119B-DCAC60AD5B14}"/>
              </a:ext>
            </a:extLst>
          </p:cNvPr>
          <p:cNvCxnSpPr>
            <a:cxnSpLocks/>
          </p:cNvCxnSpPr>
          <p:nvPr/>
        </p:nvCxnSpPr>
        <p:spPr>
          <a:xfrm flipH="1">
            <a:off x="8124328" y="3637280"/>
            <a:ext cx="2249032" cy="0"/>
          </a:xfrm>
          <a:prstGeom prst="straightConnector1">
            <a:avLst/>
          </a:prstGeom>
          <a:ln>
            <a:solidFill>
              <a:srgbClr val="FF1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D7C2FE6E-1B16-1A4C-77A9-4E962CFC0270}"/>
              </a:ext>
            </a:extLst>
          </p:cNvPr>
          <p:cNvSpPr/>
          <p:nvPr/>
        </p:nvSpPr>
        <p:spPr>
          <a:xfrm>
            <a:off x="9184640" y="6178140"/>
            <a:ext cx="1103768" cy="220396"/>
          </a:xfrm>
          <a:prstGeom prst="roundRect">
            <a:avLst/>
          </a:prstGeom>
          <a:noFill/>
          <a:ln w="285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0751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65EE03-06B3-5164-1F15-4AC4D0773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930BDF6D-0F13-3A15-6F18-294680D65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ostenkalkulatio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5420C20E-D632-36B2-AE1D-795CAEC42945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39723518-2CA2-133C-E440-E1680115B65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318C6F56-26AD-BCBD-C877-B8167FBFDC9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Kosten Werbegeschenk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ADCAE9F-C967-9231-6E8F-DCD9DADC6E89}"/>
              </a:ext>
            </a:extLst>
          </p:cNvPr>
          <p:cNvSpPr txBox="1"/>
          <p:nvPr/>
        </p:nvSpPr>
        <p:spPr>
          <a:xfrm>
            <a:off x="841890" y="1335502"/>
            <a:ext cx="60493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</a:rPr>
              <a:t>Variable Kosten</a:t>
            </a:r>
          </a:p>
        </p:txBody>
      </p:sp>
      <p:pic>
        <p:nvPicPr>
          <p:cNvPr id="39" name="Grafik 38" descr="Ein Bild, das Text, Zahl, Screenshot, parallel enthält.&#10;&#10;KI-generierte Inhalte können fehlerhaft sein.">
            <a:extLst>
              <a:ext uri="{FF2B5EF4-FFF2-40B4-BE49-F238E27FC236}">
                <a16:creationId xmlns:a16="http://schemas.microsoft.com/office/drawing/2014/main" id="{4436C2F8-8BA0-8FF9-A3E5-6F5EFFFDF9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23" y="1771224"/>
            <a:ext cx="9472097" cy="4680000"/>
          </a:xfrm>
          <a:prstGeom prst="rect">
            <a:avLst/>
          </a:prstGeom>
        </p:spPr>
      </p:pic>
      <p:pic>
        <p:nvPicPr>
          <p:cNvPr id="41" name="Grafik 40" descr="Ein Bild, das Text, Screenshot, Reihe, Zahl enthält.&#10;&#10;KI-generierte Inhalte können fehlerhaft sein.">
            <a:extLst>
              <a:ext uri="{FF2B5EF4-FFF2-40B4-BE49-F238E27FC236}">
                <a16:creationId xmlns:a16="http://schemas.microsoft.com/office/drawing/2014/main" id="{B2EA011A-F9B9-B725-E611-71741B6D42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425" y="1771224"/>
            <a:ext cx="962156" cy="4680000"/>
          </a:xfrm>
          <a:prstGeom prst="rect">
            <a:avLst/>
          </a:prstGeom>
        </p:spPr>
      </p:pic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2341B2E8-49EC-86D0-85B2-F3A48FE94610}"/>
              </a:ext>
            </a:extLst>
          </p:cNvPr>
          <p:cNvSpPr/>
          <p:nvPr/>
        </p:nvSpPr>
        <p:spPr>
          <a:xfrm>
            <a:off x="518318" y="2651760"/>
            <a:ext cx="10830401" cy="1270000"/>
          </a:xfrm>
          <a:prstGeom prst="roundRect">
            <a:avLst/>
          </a:prstGeom>
          <a:noFill/>
          <a:ln w="38100">
            <a:solidFill>
              <a:srgbClr val="FF1A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214F95DF-1C0A-4CF0-76CD-BE73C479BAAC}"/>
              </a:ext>
            </a:extLst>
          </p:cNvPr>
          <p:cNvSpPr/>
          <p:nvPr/>
        </p:nvSpPr>
        <p:spPr>
          <a:xfrm>
            <a:off x="9296400" y="2651760"/>
            <a:ext cx="2052319" cy="1270000"/>
          </a:xfrm>
          <a:prstGeom prst="roundRect">
            <a:avLst/>
          </a:prstGeom>
          <a:noFill/>
          <a:ln w="19050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73AE8442-610E-D5FB-6A71-A5A47B0ABB86}"/>
              </a:ext>
            </a:extLst>
          </p:cNvPr>
          <p:cNvSpPr txBox="1"/>
          <p:nvPr/>
        </p:nvSpPr>
        <p:spPr>
          <a:xfrm>
            <a:off x="9225105" y="1370308"/>
            <a:ext cx="25401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</a:rPr>
              <a:t>10 Stück / 10.000 Stück </a:t>
            </a:r>
          </a:p>
        </p:txBody>
      </p:sp>
    </p:spTree>
    <p:extLst>
      <p:ext uri="{BB962C8B-B14F-4D97-AF65-F5344CB8AC3E}">
        <p14:creationId xmlns:p14="http://schemas.microsoft.com/office/powerpoint/2010/main" val="1961243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45491B-53E7-B914-EAFE-0A1D2F369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8C198B51-0679-6F5C-8439-FBA0BE1A7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ostenkalkulatio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17EB6E1E-A384-F258-2549-19EBB74705FF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0F16E18-91AD-3A75-0DDB-206B000E02F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3300055F-A2F4-1974-D68B-3B70FB07567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Break-Even-Poin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CAE86A-727E-0401-8815-2CB43CF875CA}"/>
              </a:ext>
            </a:extLst>
          </p:cNvPr>
          <p:cNvSpPr txBox="1"/>
          <p:nvPr/>
        </p:nvSpPr>
        <p:spPr>
          <a:xfrm>
            <a:off x="6998850" y="2335751"/>
            <a:ext cx="60493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kumimoji="0" lang="de-DE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</a:rPr>
              <a:t>Zuschlagskal</a:t>
            </a:r>
            <a:r>
              <a:rPr lang="de-DE" sz="2000" err="1">
                <a:solidFill>
                  <a:srgbClr val="000000"/>
                </a:solidFill>
                <a:latin typeface="ZEISS Frutiger Next W1G"/>
              </a:rPr>
              <a:t>kulation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Montageeinrichtung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D72C7EF-C4B6-ABDD-04B4-D8D7EC554490}"/>
              </a:ext>
            </a:extLst>
          </p:cNvPr>
          <p:cNvSpPr txBox="1"/>
          <p:nvPr/>
        </p:nvSpPr>
        <p:spPr>
          <a:xfrm>
            <a:off x="6998850" y="2883662"/>
            <a:ext cx="60493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Zuschlagskalkulation Werbegeschenk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</a:endParaRPr>
          </a:p>
        </p:txBody>
      </p:sp>
      <p:pic>
        <p:nvPicPr>
          <p:cNvPr id="12" name="Grafik 11" descr="Ein Bild, das Text, Screenshot, Schrift, Zahl enthält.&#10;&#10;KI-generierte Inhalte können fehlerhaft sein.">
            <a:extLst>
              <a:ext uri="{FF2B5EF4-FFF2-40B4-BE49-F238E27FC236}">
                <a16:creationId xmlns:a16="http://schemas.microsoft.com/office/drawing/2014/main" id="{B028DCEE-CF9A-6674-A270-50BEC22CD9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81" y="1967505"/>
            <a:ext cx="6119669" cy="2447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1088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5354A6-6A28-F900-C4C9-034ED7867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A86AFCFB-2635-12A0-8A4E-E8AA0F0E4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B84A4FF0-15BD-038A-670C-A3526BC64DF9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6EC932E-D93E-7C5D-2F60-361A711E468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D55931C9-817B-0F4B-5BB8-9F32C2381A7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Meilensteinpla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774B2F3-A994-529B-4241-96072FD545B0}"/>
              </a:ext>
            </a:extLst>
          </p:cNvPr>
          <p:cNvSpPr/>
          <p:nvPr/>
        </p:nvSpPr>
        <p:spPr>
          <a:xfrm>
            <a:off x="10001663" y="3156410"/>
            <a:ext cx="1360247" cy="3850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Projektend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817708C-E206-BC30-FBAA-A43154050611}"/>
              </a:ext>
            </a:extLst>
          </p:cNvPr>
          <p:cNvCxnSpPr>
            <a:cxnSpLocks/>
          </p:cNvCxnSpPr>
          <p:nvPr/>
        </p:nvCxnSpPr>
        <p:spPr>
          <a:xfrm flipV="1">
            <a:off x="1144621" y="3679594"/>
            <a:ext cx="9902758" cy="1205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Raute 9">
            <a:extLst>
              <a:ext uri="{FF2B5EF4-FFF2-40B4-BE49-F238E27FC236}">
                <a16:creationId xmlns:a16="http://schemas.microsoft.com/office/drawing/2014/main" id="{A543D08D-AE54-7089-07D7-2A4B68BC070A}"/>
              </a:ext>
            </a:extLst>
          </p:cNvPr>
          <p:cNvSpPr/>
          <p:nvPr/>
        </p:nvSpPr>
        <p:spPr>
          <a:xfrm>
            <a:off x="2617549" y="353309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1</a:t>
            </a:r>
          </a:p>
        </p:txBody>
      </p:sp>
      <p:sp>
        <p:nvSpPr>
          <p:cNvPr id="11" name="Raute 10">
            <a:extLst>
              <a:ext uri="{FF2B5EF4-FFF2-40B4-BE49-F238E27FC236}">
                <a16:creationId xmlns:a16="http://schemas.microsoft.com/office/drawing/2014/main" id="{3F917FB2-2D80-9CBA-49DB-107E683CAB71}"/>
              </a:ext>
            </a:extLst>
          </p:cNvPr>
          <p:cNvSpPr/>
          <p:nvPr/>
        </p:nvSpPr>
        <p:spPr>
          <a:xfrm>
            <a:off x="4515912" y="3533098"/>
            <a:ext cx="296694" cy="292991"/>
          </a:xfrm>
          <a:prstGeom prst="diamond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2</a:t>
            </a:r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id="{8D4A1AC8-62A9-E03E-0D7F-576A49F10359}"/>
              </a:ext>
            </a:extLst>
          </p:cNvPr>
          <p:cNvSpPr/>
          <p:nvPr/>
        </p:nvSpPr>
        <p:spPr>
          <a:xfrm>
            <a:off x="6127460" y="354144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B02F13B2-15B2-3E9D-7184-20D9E909CDAC}"/>
              </a:ext>
            </a:extLst>
          </p:cNvPr>
          <p:cNvSpPr/>
          <p:nvPr/>
        </p:nvSpPr>
        <p:spPr>
          <a:xfrm>
            <a:off x="7513653" y="354144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4</a:t>
            </a:r>
          </a:p>
        </p:txBody>
      </p:sp>
      <p:sp>
        <p:nvSpPr>
          <p:cNvPr id="14" name="Raute 13">
            <a:extLst>
              <a:ext uri="{FF2B5EF4-FFF2-40B4-BE49-F238E27FC236}">
                <a16:creationId xmlns:a16="http://schemas.microsoft.com/office/drawing/2014/main" id="{974648C3-1905-785B-C9E7-1D9378E392A8}"/>
              </a:ext>
            </a:extLst>
          </p:cNvPr>
          <p:cNvSpPr/>
          <p:nvPr/>
        </p:nvSpPr>
        <p:spPr>
          <a:xfrm>
            <a:off x="9295594" y="353309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5</a:t>
            </a:r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id="{CF3AC1B2-1294-5D46-0DDE-B0AC112825A0}"/>
              </a:ext>
            </a:extLst>
          </p:cNvPr>
          <p:cNvSpPr/>
          <p:nvPr/>
        </p:nvSpPr>
        <p:spPr>
          <a:xfrm>
            <a:off x="10533440" y="3545152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3485E7F-4E11-CC8F-6A68-3928E39E317A}"/>
              </a:ext>
            </a:extLst>
          </p:cNvPr>
          <p:cNvSpPr/>
          <p:nvPr/>
        </p:nvSpPr>
        <p:spPr>
          <a:xfrm>
            <a:off x="610417" y="3156410"/>
            <a:ext cx="1360247" cy="3850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Projektstart</a:t>
            </a:r>
          </a:p>
        </p:txBody>
      </p:sp>
      <p:sp>
        <p:nvSpPr>
          <p:cNvPr id="17" name="Raute 16">
            <a:extLst>
              <a:ext uri="{FF2B5EF4-FFF2-40B4-BE49-F238E27FC236}">
                <a16:creationId xmlns:a16="http://schemas.microsoft.com/office/drawing/2014/main" id="{1625911C-D435-6E16-91ED-4DE061F62D81}"/>
              </a:ext>
            </a:extLst>
          </p:cNvPr>
          <p:cNvSpPr/>
          <p:nvPr/>
        </p:nvSpPr>
        <p:spPr>
          <a:xfrm>
            <a:off x="1138793" y="3547691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8760404-9B4D-A72D-791E-F93B76095C24}"/>
              </a:ext>
            </a:extLst>
          </p:cNvPr>
          <p:cNvSpPr/>
          <p:nvPr/>
        </p:nvSpPr>
        <p:spPr>
          <a:xfrm>
            <a:off x="1818728" y="1955259"/>
            <a:ext cx="1882539" cy="62024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Finalisierung Werbegeschenk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BF4FB20-916C-70A8-0AAC-92F6AF3D4727}"/>
              </a:ext>
            </a:extLst>
          </p:cNvPr>
          <p:cNvCxnSpPr>
            <a:cxnSpLocks/>
            <a:stCxn id="10" idx="0"/>
            <a:endCxn id="18" idx="2"/>
          </p:cNvCxnSpPr>
          <p:nvPr/>
        </p:nvCxnSpPr>
        <p:spPr>
          <a:xfrm flipH="1" flipV="1">
            <a:off x="2759998" y="2575503"/>
            <a:ext cx="5898" cy="9575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8C57E003-BAAA-C362-DC55-12E3FF00C477}"/>
              </a:ext>
            </a:extLst>
          </p:cNvPr>
          <p:cNvSpPr/>
          <p:nvPr/>
        </p:nvSpPr>
        <p:spPr>
          <a:xfrm>
            <a:off x="5099999" y="1703712"/>
            <a:ext cx="2360298" cy="95759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/>
              <a:t>Fertigungszeichnung und –planung abgeschloss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34630922-5FB6-8004-6124-3E906F5A84AD}"/>
              </a:ext>
            </a:extLst>
          </p:cNvPr>
          <p:cNvCxnSpPr>
            <a:cxnSpLocks/>
            <a:stCxn id="12" idx="0"/>
            <a:endCxn id="20" idx="2"/>
          </p:cNvCxnSpPr>
          <p:nvPr/>
        </p:nvCxnSpPr>
        <p:spPr>
          <a:xfrm flipV="1">
            <a:off x="6275807" y="2661308"/>
            <a:ext cx="4341" cy="8801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C615108F-6EB6-C435-088C-7427090E923B}"/>
              </a:ext>
            </a:extLst>
          </p:cNvPr>
          <p:cNvSpPr/>
          <p:nvPr/>
        </p:nvSpPr>
        <p:spPr>
          <a:xfrm>
            <a:off x="1919679" y="3823550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3</a:t>
            </a:r>
          </a:p>
        </p:txBody>
      </p:sp>
      <p:sp>
        <p:nvSpPr>
          <p:cNvPr id="23" name="Raute 22">
            <a:extLst>
              <a:ext uri="{FF2B5EF4-FFF2-40B4-BE49-F238E27FC236}">
                <a16:creationId xmlns:a16="http://schemas.microsoft.com/office/drawing/2014/main" id="{3ACDDAD5-72A0-F009-C279-6F28C7E9DA41}"/>
              </a:ext>
            </a:extLst>
          </p:cNvPr>
          <p:cNvSpPr/>
          <p:nvPr/>
        </p:nvSpPr>
        <p:spPr>
          <a:xfrm>
            <a:off x="3335550" y="3533097"/>
            <a:ext cx="296694" cy="292991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1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D926908-419D-481A-2FF9-49C67CEE0364}"/>
              </a:ext>
            </a:extLst>
          </p:cNvPr>
          <p:cNvSpPr/>
          <p:nvPr/>
        </p:nvSpPr>
        <p:spPr>
          <a:xfrm>
            <a:off x="3857267" y="2860329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5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0576DE7-B5A3-711A-0CF1-0F7060670965}"/>
              </a:ext>
            </a:extLst>
          </p:cNvPr>
          <p:cNvSpPr/>
          <p:nvPr/>
        </p:nvSpPr>
        <p:spPr>
          <a:xfrm>
            <a:off x="5432337" y="3890669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6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B0C57A5-8E04-F2A5-5143-7C23773005CD}"/>
              </a:ext>
            </a:extLst>
          </p:cNvPr>
          <p:cNvSpPr/>
          <p:nvPr/>
        </p:nvSpPr>
        <p:spPr>
          <a:xfrm>
            <a:off x="6818530" y="2893090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7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59DD5A-B83F-FB9A-DFDF-CF3434C83D44}"/>
              </a:ext>
            </a:extLst>
          </p:cNvPr>
          <p:cNvSpPr/>
          <p:nvPr/>
        </p:nvSpPr>
        <p:spPr>
          <a:xfrm>
            <a:off x="8600471" y="3841262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9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DF0F78E-0378-8D01-F192-437E9B3928AB}"/>
              </a:ext>
            </a:extLst>
          </p:cNvPr>
          <p:cNvSpPr/>
          <p:nvPr/>
        </p:nvSpPr>
        <p:spPr>
          <a:xfrm>
            <a:off x="8442803" y="1955259"/>
            <a:ext cx="2002275" cy="68365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1. Systemtes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C3268A3-E9B1-BA97-8AE6-5C078866970C}"/>
              </a:ext>
            </a:extLst>
          </p:cNvPr>
          <p:cNvCxnSpPr>
            <a:cxnSpLocks/>
            <a:stCxn id="14" idx="0"/>
            <a:endCxn id="30" idx="2"/>
          </p:cNvCxnSpPr>
          <p:nvPr/>
        </p:nvCxnSpPr>
        <p:spPr>
          <a:xfrm flipV="1">
            <a:off x="9443941" y="2638917"/>
            <a:ext cx="0" cy="894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C264D70D-5C07-343A-C856-25ABB38EAB66}"/>
              </a:ext>
            </a:extLst>
          </p:cNvPr>
          <p:cNvSpPr/>
          <p:nvPr/>
        </p:nvSpPr>
        <p:spPr>
          <a:xfrm>
            <a:off x="3674715" y="4929017"/>
            <a:ext cx="1986781" cy="136397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Systemkonzept der Anlage; Risikobeurteilung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940BBB78-C987-A573-F3F4-961F06714D88}"/>
              </a:ext>
            </a:extLst>
          </p:cNvPr>
          <p:cNvCxnSpPr>
            <a:cxnSpLocks/>
            <a:stCxn id="11" idx="2"/>
            <a:endCxn id="32" idx="0"/>
          </p:cNvCxnSpPr>
          <p:nvPr/>
        </p:nvCxnSpPr>
        <p:spPr>
          <a:xfrm>
            <a:off x="4664259" y="3826089"/>
            <a:ext cx="3847" cy="11029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DEB88F12-D038-A33E-9C39-1D2C094EDD40}"/>
              </a:ext>
            </a:extLst>
          </p:cNvPr>
          <p:cNvSpPr/>
          <p:nvPr/>
        </p:nvSpPr>
        <p:spPr>
          <a:xfrm>
            <a:off x="6654623" y="4998673"/>
            <a:ext cx="2032174" cy="12943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/>
              <a:t>Abschluss der Beschaffung </a:t>
            </a:r>
            <a:br>
              <a:rPr lang="de-DE"/>
            </a:br>
            <a:r>
              <a:rPr lang="de-DE"/>
              <a:t>– </a:t>
            </a:r>
            <a:br>
              <a:rPr lang="de-DE"/>
            </a:br>
            <a:r>
              <a:rPr lang="de-DE"/>
              <a:t>Start Mont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A37C8EA2-1791-1578-73F3-6928A237FF31}"/>
              </a:ext>
            </a:extLst>
          </p:cNvPr>
          <p:cNvCxnSpPr>
            <a:cxnSpLocks/>
            <a:stCxn id="13" idx="2"/>
            <a:endCxn id="34" idx="0"/>
          </p:cNvCxnSpPr>
          <p:nvPr/>
        </p:nvCxnSpPr>
        <p:spPr>
          <a:xfrm>
            <a:off x="7662000" y="3834439"/>
            <a:ext cx="8710" cy="11642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BD17FCAA-DB5D-A295-71A3-E9357C119C2A}"/>
              </a:ext>
            </a:extLst>
          </p:cNvPr>
          <p:cNvCxnSpPr>
            <a:cxnSpLocks/>
          </p:cNvCxnSpPr>
          <p:nvPr/>
        </p:nvCxnSpPr>
        <p:spPr>
          <a:xfrm>
            <a:off x="2765896" y="3429000"/>
            <a:ext cx="742374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aute 1">
            <a:extLst>
              <a:ext uri="{FF2B5EF4-FFF2-40B4-BE49-F238E27FC236}">
                <a16:creationId xmlns:a16="http://schemas.microsoft.com/office/drawing/2014/main" id="{40560E2D-896C-35BF-C699-551640FAD256}"/>
              </a:ext>
            </a:extLst>
          </p:cNvPr>
          <p:cNvSpPr/>
          <p:nvPr/>
        </p:nvSpPr>
        <p:spPr>
          <a:xfrm>
            <a:off x="8201174" y="3554065"/>
            <a:ext cx="296694" cy="292991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4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6C7A7DD0-C31A-E223-86EC-694902A4DD1D}"/>
              </a:ext>
            </a:extLst>
          </p:cNvPr>
          <p:cNvCxnSpPr>
            <a:cxnSpLocks/>
          </p:cNvCxnSpPr>
          <p:nvPr/>
        </p:nvCxnSpPr>
        <p:spPr>
          <a:xfrm>
            <a:off x="7662000" y="3896397"/>
            <a:ext cx="68952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E4EEF57-330E-F6C3-27DC-A6FFF546E672}"/>
              </a:ext>
            </a:extLst>
          </p:cNvPr>
          <p:cNvCxnSpPr>
            <a:cxnSpLocks/>
          </p:cNvCxnSpPr>
          <p:nvPr/>
        </p:nvCxnSpPr>
        <p:spPr>
          <a:xfrm>
            <a:off x="9443941" y="3012477"/>
            <a:ext cx="68952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Gewitterblitz 38">
            <a:extLst>
              <a:ext uri="{FF2B5EF4-FFF2-40B4-BE49-F238E27FC236}">
                <a16:creationId xmlns:a16="http://schemas.microsoft.com/office/drawing/2014/main" id="{643B5DA6-F08A-702C-BDF8-B993BEDBF4A4}"/>
              </a:ext>
            </a:extLst>
          </p:cNvPr>
          <p:cNvSpPr/>
          <p:nvPr/>
        </p:nvSpPr>
        <p:spPr>
          <a:xfrm>
            <a:off x="9505802" y="3270460"/>
            <a:ext cx="503140" cy="733941"/>
          </a:xfrm>
          <a:prstGeom prst="lightningBolt">
            <a:avLst/>
          </a:prstGeom>
          <a:solidFill>
            <a:srgbClr val="FFFFFF"/>
          </a:solidFill>
          <a:ln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6736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D085B-66B9-3467-BEB7-50E541649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97819CB-BB34-32AB-4BD4-2E2CD03A8FD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4524680"/>
            <a:ext cx="12192000" cy="720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3DD11331-7F89-628D-D3E1-755F8E03E961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8920F7FE-5312-DAA7-9382-B3AE65C75128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" action="ppaction://noaction"/>
            <a:extLst>
              <a:ext uri="{FF2B5EF4-FFF2-40B4-BE49-F238E27FC236}">
                <a16:creationId xmlns:a16="http://schemas.microsoft.com/office/drawing/2014/main" id="{5BCB59A7-3B74-BB91-808C-1A8FB6A44D1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74D4EEF6-896D-D638-D309-0145384CFA5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A8AD678D-1A24-30EB-BE5D-4F5897B702D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" action="ppaction://noaction"/>
            <a:extLst>
              <a:ext uri="{FF2B5EF4-FFF2-40B4-BE49-F238E27FC236}">
                <a16:creationId xmlns:a16="http://schemas.microsoft.com/office/drawing/2014/main" id="{CE902007-C29F-D898-5BFF-8BBCFA282B5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bg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86918082-A63F-A097-26EA-82F6C8CC88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A1020FB6-C13C-33BA-2251-882695AFA46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" action="ppaction://noaction"/>
            <a:extLst>
              <a:ext uri="{FF2B5EF4-FFF2-40B4-BE49-F238E27FC236}">
                <a16:creationId xmlns:a16="http://schemas.microsoft.com/office/drawing/2014/main" id="{BCCB1687-462D-B3A4-D499-97611B700E5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1B915903-E772-2570-5E25-8482CFED73D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17A82529-9639-B2F2-4AAE-FDFAEE37C6B9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" action="ppaction://noaction"/>
            <a:extLst>
              <a:ext uri="{FF2B5EF4-FFF2-40B4-BE49-F238E27FC236}">
                <a16:creationId xmlns:a16="http://schemas.microsoft.com/office/drawing/2014/main" id="{99A86A36-9C08-C789-97D1-1A180FAE5C9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85C8787A-D899-E55B-6174-01C4CE46C81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4C7F3765-911B-A134-7C4E-E8D85C845C4C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" action="ppaction://noaction"/>
            <a:extLst>
              <a:ext uri="{FF2B5EF4-FFF2-40B4-BE49-F238E27FC236}">
                <a16:creationId xmlns:a16="http://schemas.microsoft.com/office/drawing/2014/main" id="{071BC842-3AB5-917E-B73E-29CA7EA1C9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56203D76-A469-4070-B4F9-DA60682A7B6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705ED298-13AC-8E4E-E2DB-E04C273D4CEA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5" action="ppaction://hlinksldjump"/>
            <a:extLst>
              <a:ext uri="{FF2B5EF4-FFF2-40B4-BE49-F238E27FC236}">
                <a16:creationId xmlns:a16="http://schemas.microsoft.com/office/drawing/2014/main" id="{48D317FF-A17D-15CB-D8DB-BC314A9585B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5" action="ppaction://hlinksldjump"/>
            <a:extLst>
              <a:ext uri="{FF2B5EF4-FFF2-40B4-BE49-F238E27FC236}">
                <a16:creationId xmlns:a16="http://schemas.microsoft.com/office/drawing/2014/main" id="{71847F56-F597-6C6F-D96D-968B6A3DE8A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145FF17A-3DCB-5751-F7A0-B027B03B3F74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BAC2AAF5-86D2-D957-68A3-14DB8B9E24CA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DC54B1F7-6EC5-C6ED-CE1F-B501BC0C33C7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AAB7DF01-6708-A3C5-2F7F-4BE94F89732D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28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26300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CFF83-AEE0-220B-4C9F-64CD9958D8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640F89-982D-BDC7-57CE-8CD2A9A44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640F89-982D-BDC7-57CE-8CD2A9A44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D3524F-5C4D-49E9-6B82-707FEB0B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rket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071481-1EFB-4DF2-0B15-1F67DFF7B9F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Werbeplaka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BA640B-8BFC-1805-802F-F5AEF52F4D91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40C054-237F-8C9F-C4C7-5ABBC8F013D0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2050" name="Picture 2" descr="Poster icon vector image Can be used for Printing | Premium Vector">
            <a:extLst>
              <a:ext uri="{FF2B5EF4-FFF2-40B4-BE49-F238E27FC236}">
                <a16:creationId xmlns:a16="http://schemas.microsoft.com/office/drawing/2014/main" id="{A9EA8296-1B97-D0B2-8870-A68DCFE32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506" y="1673506"/>
            <a:ext cx="3510988" cy="351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185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47E0E-54D1-7452-B79F-1588CE94C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ABB1F6D-17F4-3FCC-12B9-74F3C58EC6C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626364"/>
            <a:ext cx="12192000" cy="71224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29B3B6AA-D54B-A120-49AA-94D74C9E0E95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DDD9B6EA-3C70-F1B7-3BD0-02AC37BCB6D1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extLst>
              <a:ext uri="{FF2B5EF4-FFF2-40B4-BE49-F238E27FC236}">
                <a16:creationId xmlns:a16="http://schemas.microsoft.com/office/drawing/2014/main" id="{9F2B3016-3025-852C-3425-69DB08B70C6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368EE835-F353-B4B8-A384-C64386FACC4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D40E3EFE-6E5B-5137-66A6-D9960D62B041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extLst>
              <a:ext uri="{FF2B5EF4-FFF2-40B4-BE49-F238E27FC236}">
                <a16:creationId xmlns:a16="http://schemas.microsoft.com/office/drawing/2014/main" id="{466FDF67-1161-DC7C-31FB-3C64AE27266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908ABC2C-D189-087E-860C-F358E04896E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4EBBF7A6-2F6D-0ADE-1FC5-3C3D93AA0894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extLst>
              <a:ext uri="{FF2B5EF4-FFF2-40B4-BE49-F238E27FC236}">
                <a16:creationId xmlns:a16="http://schemas.microsoft.com/office/drawing/2014/main" id="{F99FF65C-4AEF-9B9C-286D-7C8BBF150DD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89D0B7CE-36D2-41A4-5D2D-5135C256DCF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E67CFF9A-C462-19D0-894A-E4901DBC087D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extLst>
              <a:ext uri="{FF2B5EF4-FFF2-40B4-BE49-F238E27FC236}">
                <a16:creationId xmlns:a16="http://schemas.microsoft.com/office/drawing/2014/main" id="{71C92AE6-45C9-BE85-4F3B-880AEB0D5A8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C892F499-373B-7D6A-9153-7E619D5BF14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F9C00593-CE96-7B08-1286-824A31AABC8A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extLst>
              <a:ext uri="{FF2B5EF4-FFF2-40B4-BE49-F238E27FC236}">
                <a16:creationId xmlns:a16="http://schemas.microsoft.com/office/drawing/2014/main" id="{D8B57200-3A9A-8AD2-EC8B-52A8A87C8F1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0AAB7CE8-9419-8A0C-BA90-E118489E225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7DA4B648-05D8-C854-18D1-EBA96F3174BF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extLst>
              <a:ext uri="{FF2B5EF4-FFF2-40B4-BE49-F238E27FC236}">
                <a16:creationId xmlns:a16="http://schemas.microsoft.com/office/drawing/2014/main" id="{1B97D83B-D385-A7B4-E164-85A432FE5AE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" action="ppaction://noaction"/>
            <a:extLst>
              <a:ext uri="{FF2B5EF4-FFF2-40B4-BE49-F238E27FC236}">
                <a16:creationId xmlns:a16="http://schemas.microsoft.com/office/drawing/2014/main" id="{74504909-6BE4-C777-473C-352B27B0C76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736C3894-7FEC-C126-A266-DCF92208B751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77DC5EAF-8898-072A-21EE-2D7AAC4BFE42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715156DC-9227-82EA-3690-BD4A33B7302A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E5DAFE34-A190-74F7-4FA1-7139AF27B138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3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68886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34733C-15F0-B496-D4F9-7E08A7AB7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think-cell data - do not delete" hidden="1">
            <a:extLst>
              <a:ext uri="{FF2B5EF4-FFF2-40B4-BE49-F238E27FC236}">
                <a16:creationId xmlns:a16="http://schemas.microsoft.com/office/drawing/2014/main" id="{62B8C061-2906-34E9-831D-A45E8405E9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548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6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B8C061-2906-34E9-831D-A45E8405E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Gerade Verbindung 71">
            <a:extLst>
              <a:ext uri="{FF2B5EF4-FFF2-40B4-BE49-F238E27FC236}">
                <a16:creationId xmlns:a16="http://schemas.microsoft.com/office/drawing/2014/main" id="{B29F210E-F614-806D-FEAA-FF5DCE2C1992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71">
            <a:extLst>
              <a:ext uri="{FF2B5EF4-FFF2-40B4-BE49-F238E27FC236}">
                <a16:creationId xmlns:a16="http://schemas.microsoft.com/office/drawing/2014/main" id="{F3B79553-3E67-9C5E-9653-0AC685F30B4C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Datumsplatzhalter 2">
            <a:extLst>
              <a:ext uri="{FF2B5EF4-FFF2-40B4-BE49-F238E27FC236}">
                <a16:creationId xmlns:a16="http://schemas.microsoft.com/office/drawing/2014/main" id="{601DE9BE-6058-A652-1DD5-5A68DC15F22C}"/>
              </a:ext>
            </a:extLst>
          </p:cNvPr>
          <p:cNvSpPr>
            <a:spLocks noGrp="1"/>
          </p:cNvSpPr>
          <p:nvPr>
            <p:ph type="dt" sz="half" idx="64"/>
          </p:nvPr>
        </p:nvSpPr>
        <p:spPr>
          <a:xfrm>
            <a:off x="299274" y="6579170"/>
            <a:ext cx="1085233" cy="230832"/>
          </a:xfrm>
        </p:spPr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1024" name="Foliennummernplatzhalter 10">
            <a:extLst>
              <a:ext uri="{FF2B5EF4-FFF2-40B4-BE49-F238E27FC236}">
                <a16:creationId xmlns:a16="http://schemas.microsoft.com/office/drawing/2014/main" id="{4A39F705-2001-096A-9F17-352BAC752B6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025" name="Titelplatzhalter 1">
            <a:extLst>
              <a:ext uri="{FF2B5EF4-FFF2-40B4-BE49-F238E27FC236}">
                <a16:creationId xmlns:a16="http://schemas.microsoft.com/office/drawing/2014/main" id="{8DA1A901-7100-BE12-915C-FC94053AAA4B}"/>
              </a:ext>
            </a:extLst>
          </p:cNvPr>
          <p:cNvSpPr txBox="1">
            <a:spLocks/>
          </p:cNvSpPr>
          <p:nvPr/>
        </p:nvSpPr>
        <p:spPr>
          <a:xfrm>
            <a:off x="518319" y="299633"/>
            <a:ext cx="82203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ZEISS Frutiger Next W1G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Marketing</a:t>
            </a:r>
          </a:p>
        </p:txBody>
      </p:sp>
      <p:sp>
        <p:nvSpPr>
          <p:cNvPr id="1027" name="Datumsplatzhalter 3">
            <a:extLst>
              <a:ext uri="{FF2B5EF4-FFF2-40B4-BE49-F238E27FC236}">
                <a16:creationId xmlns:a16="http://schemas.microsoft.com/office/drawing/2014/main" id="{52E2E7EA-94BD-0D3D-B452-0C0F82702D8C}"/>
              </a:ext>
            </a:extLst>
          </p:cNvPr>
          <p:cNvSpPr txBox="1">
            <a:spLocks/>
          </p:cNvSpPr>
          <p:nvPr/>
        </p:nvSpPr>
        <p:spPr>
          <a:xfrm>
            <a:off x="299274" y="6579170"/>
            <a:ext cx="1085233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ZEISS Frutiger Next W1G Lt" panose="020B0302030202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0C3420-A45B-4223-8056-BE47BA32B9EC}" type="datetime4">
              <a:rPr lang="de-DE" smtClean="0"/>
              <a:pPr/>
              <a:t>3. Juli 2025</a:t>
            </a:fld>
            <a:endParaRPr lang="de-DE"/>
          </a:p>
        </p:txBody>
      </p:sp>
      <p:sp>
        <p:nvSpPr>
          <p:cNvPr id="1028" name="Foliennummernplatzhalter 5">
            <a:extLst>
              <a:ext uri="{FF2B5EF4-FFF2-40B4-BE49-F238E27FC236}">
                <a16:creationId xmlns:a16="http://schemas.microsoft.com/office/drawing/2014/main" id="{B2913E62-3C74-23D4-9BD8-E6F5267244D5}"/>
              </a:ext>
            </a:extLst>
          </p:cNvPr>
          <p:cNvSpPr txBox="1">
            <a:spLocks/>
          </p:cNvSpPr>
          <p:nvPr/>
        </p:nvSpPr>
        <p:spPr>
          <a:xfrm>
            <a:off x="5629204" y="6579170"/>
            <a:ext cx="387928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500" b="1" kern="1200">
                <a:solidFill>
                  <a:schemeClr val="tx1"/>
                </a:solidFill>
                <a:latin typeface="+mn-lt"/>
                <a:ea typeface="+mn-ea"/>
                <a:cs typeface="ZEISS Frutiger Next W1G Lt" panose="020B0302030202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A4AD45-2621-4550-9DC5-4911F1B5FA4D}" type="slidenum">
              <a:rPr lang="de-DE" smtClean="0"/>
              <a:pPr/>
              <a:t>30</a:t>
            </a:fld>
            <a:endParaRPr lang="de-DE"/>
          </a:p>
        </p:txBody>
      </p:sp>
      <p:grpSp>
        <p:nvGrpSpPr>
          <p:cNvPr id="1029" name="Gruppieren 1028">
            <a:extLst>
              <a:ext uri="{FF2B5EF4-FFF2-40B4-BE49-F238E27FC236}">
                <a16:creationId xmlns:a16="http://schemas.microsoft.com/office/drawing/2014/main" id="{7A255889-9CC8-D17C-5DA5-E6D1A0749BFD}"/>
              </a:ext>
            </a:extLst>
          </p:cNvPr>
          <p:cNvGrpSpPr/>
          <p:nvPr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1030" name="Gruppieren 1029">
              <a:extLst>
                <a:ext uri="{FF2B5EF4-FFF2-40B4-BE49-F238E27FC236}">
                  <a16:creationId xmlns:a16="http://schemas.microsoft.com/office/drawing/2014/main" id="{2C8AE9EE-C983-921F-12BC-4210558E4639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1041" name="Gerader Verbinder 1040">
                <a:extLst>
                  <a:ext uri="{FF2B5EF4-FFF2-40B4-BE49-F238E27FC236}">
                    <a16:creationId xmlns:a16="http://schemas.microsoft.com/office/drawing/2014/main" id="{889F6AED-37F2-E0BA-9912-A0A863BBB4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2" name="Textfeld 1041">
                <a:extLst>
                  <a:ext uri="{FF2B5EF4-FFF2-40B4-BE49-F238E27FC236}">
                    <a16:creationId xmlns:a16="http://schemas.microsoft.com/office/drawing/2014/main" id="{91D24371-E0BE-5D53-6AFF-032E6C8E5E1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1031" name="Gruppieren 1030">
              <a:extLst>
                <a:ext uri="{FF2B5EF4-FFF2-40B4-BE49-F238E27FC236}">
                  <a16:creationId xmlns:a16="http://schemas.microsoft.com/office/drawing/2014/main" id="{C4AAD1F2-B08F-76A2-63C4-1DA7BF25DF03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1039" name="Gerader Verbinder 1038">
                <a:extLst>
                  <a:ext uri="{FF2B5EF4-FFF2-40B4-BE49-F238E27FC236}">
                    <a16:creationId xmlns:a16="http://schemas.microsoft.com/office/drawing/2014/main" id="{8F9DC129-CA0D-9DA2-40BD-1873E73CEB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0" name="Textfeld 1039">
                <a:extLst>
                  <a:ext uri="{FF2B5EF4-FFF2-40B4-BE49-F238E27FC236}">
                    <a16:creationId xmlns:a16="http://schemas.microsoft.com/office/drawing/2014/main" id="{CDDA6101-2A66-7A9A-35AF-FA25BB2600F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1032" name="Gruppieren 1031">
              <a:extLst>
                <a:ext uri="{FF2B5EF4-FFF2-40B4-BE49-F238E27FC236}">
                  <a16:creationId xmlns:a16="http://schemas.microsoft.com/office/drawing/2014/main" id="{782E6CFB-EFFF-5EBD-55CA-CA5088CDC9B9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1037" name="Gerader Verbinder 1036">
                <a:extLst>
                  <a:ext uri="{FF2B5EF4-FFF2-40B4-BE49-F238E27FC236}">
                    <a16:creationId xmlns:a16="http://schemas.microsoft.com/office/drawing/2014/main" id="{6E564167-A06B-836A-F732-1B1D69AAFF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8" name="Textfeld 1037">
                <a:extLst>
                  <a:ext uri="{FF2B5EF4-FFF2-40B4-BE49-F238E27FC236}">
                    <a16:creationId xmlns:a16="http://schemas.microsoft.com/office/drawing/2014/main" id="{187305A2-6607-2869-753C-E58F362359C7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1033" name="Gerader Verbinder 1032">
              <a:extLst>
                <a:ext uri="{FF2B5EF4-FFF2-40B4-BE49-F238E27FC236}">
                  <a16:creationId xmlns:a16="http://schemas.microsoft.com/office/drawing/2014/main" id="{97778105-FC90-3F27-A1BC-367581AC73D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4" name="Gruppieren 1033">
              <a:extLst>
                <a:ext uri="{FF2B5EF4-FFF2-40B4-BE49-F238E27FC236}">
                  <a16:creationId xmlns:a16="http://schemas.microsoft.com/office/drawing/2014/main" id="{376A2C7E-D011-DFBE-74A4-732B7A0BD474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1035" name="Gerader Verbinder 1034">
                <a:extLst>
                  <a:ext uri="{FF2B5EF4-FFF2-40B4-BE49-F238E27FC236}">
                    <a16:creationId xmlns:a16="http://schemas.microsoft.com/office/drawing/2014/main" id="{6F0E93E1-6401-F4CF-2193-DB4F827326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6" name="Textfeld 1035">
                <a:extLst>
                  <a:ext uri="{FF2B5EF4-FFF2-40B4-BE49-F238E27FC236}">
                    <a16:creationId xmlns:a16="http://schemas.microsoft.com/office/drawing/2014/main" id="{F3D96383-C7A2-67D3-5E66-71B339C8D40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1043" name="Gruppieren 1042">
            <a:extLst>
              <a:ext uri="{FF2B5EF4-FFF2-40B4-BE49-F238E27FC236}">
                <a16:creationId xmlns:a16="http://schemas.microsoft.com/office/drawing/2014/main" id="{2864E2A2-AB60-B732-5D12-592229B32B13}"/>
              </a:ext>
            </a:extLst>
          </p:cNvPr>
          <p:cNvGrpSpPr/>
          <p:nvPr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1044" name="Gruppieren 1043">
              <a:extLst>
                <a:ext uri="{FF2B5EF4-FFF2-40B4-BE49-F238E27FC236}">
                  <a16:creationId xmlns:a16="http://schemas.microsoft.com/office/drawing/2014/main" id="{7E7A0470-02A5-4065-0B15-2AD8724CB0B8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060" name="Textfeld 1059">
                <a:extLst>
                  <a:ext uri="{FF2B5EF4-FFF2-40B4-BE49-F238E27FC236}">
                    <a16:creationId xmlns:a16="http://schemas.microsoft.com/office/drawing/2014/main" id="{6FC86A0C-E599-80A0-1B81-E3F08DA41917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061" name="Gerader Verbinder 1060">
                <a:extLst>
                  <a:ext uri="{FF2B5EF4-FFF2-40B4-BE49-F238E27FC236}">
                    <a16:creationId xmlns:a16="http://schemas.microsoft.com/office/drawing/2014/main" id="{263EDDDF-1973-7FD5-8FC1-0C5507541A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5" name="Gruppieren 1044">
              <a:extLst>
                <a:ext uri="{FF2B5EF4-FFF2-40B4-BE49-F238E27FC236}">
                  <a16:creationId xmlns:a16="http://schemas.microsoft.com/office/drawing/2014/main" id="{B70F28BA-E768-A10A-6E18-9F966F2D8D7D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58" name="Gerader Verbinder 1057">
                <a:extLst>
                  <a:ext uri="{FF2B5EF4-FFF2-40B4-BE49-F238E27FC236}">
                    <a16:creationId xmlns:a16="http://schemas.microsoft.com/office/drawing/2014/main" id="{4033AAE5-AF9E-ED7F-4584-C7F2FE86A8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9" name="Textfeld 1058">
                <a:extLst>
                  <a:ext uri="{FF2B5EF4-FFF2-40B4-BE49-F238E27FC236}">
                    <a16:creationId xmlns:a16="http://schemas.microsoft.com/office/drawing/2014/main" id="{531AF552-554D-25E8-3885-AC7A7B21191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1046" name="Gruppieren 1045">
              <a:extLst>
                <a:ext uri="{FF2B5EF4-FFF2-40B4-BE49-F238E27FC236}">
                  <a16:creationId xmlns:a16="http://schemas.microsoft.com/office/drawing/2014/main" id="{B2AF662C-57E5-75DE-F168-CBDDF3F3E09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056" name="Gerader Verbinder 1055">
                <a:extLst>
                  <a:ext uri="{FF2B5EF4-FFF2-40B4-BE49-F238E27FC236}">
                    <a16:creationId xmlns:a16="http://schemas.microsoft.com/office/drawing/2014/main" id="{14176062-DFDB-40B6-812F-5CEC2B7E8B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7" name="Textfeld 1056">
                <a:extLst>
                  <a:ext uri="{FF2B5EF4-FFF2-40B4-BE49-F238E27FC236}">
                    <a16:creationId xmlns:a16="http://schemas.microsoft.com/office/drawing/2014/main" id="{E5F69371-D081-4DB7-F3C6-EC32BDE140C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1047" name="Gruppieren 1046">
              <a:extLst>
                <a:ext uri="{FF2B5EF4-FFF2-40B4-BE49-F238E27FC236}">
                  <a16:creationId xmlns:a16="http://schemas.microsoft.com/office/drawing/2014/main" id="{346B9ABB-FF43-2D2B-3D2A-22D29DC3492D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1054" name="Gerader Verbinder 1053">
                <a:extLst>
                  <a:ext uri="{FF2B5EF4-FFF2-40B4-BE49-F238E27FC236}">
                    <a16:creationId xmlns:a16="http://schemas.microsoft.com/office/drawing/2014/main" id="{FD1CDCA3-C16C-7E39-0A58-30CD94193F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5" name="Textfeld 1054">
                <a:extLst>
                  <a:ext uri="{FF2B5EF4-FFF2-40B4-BE49-F238E27FC236}">
                    <a16:creationId xmlns:a16="http://schemas.microsoft.com/office/drawing/2014/main" id="{743326CF-7C8D-89AA-263F-1EE08F9C7F4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1048" name="Gruppieren 1047">
              <a:extLst>
                <a:ext uri="{FF2B5EF4-FFF2-40B4-BE49-F238E27FC236}">
                  <a16:creationId xmlns:a16="http://schemas.microsoft.com/office/drawing/2014/main" id="{91509B92-26B3-D985-EAF1-7D39118CA092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1052" name="Gerader Verbinder 1051">
                <a:extLst>
                  <a:ext uri="{FF2B5EF4-FFF2-40B4-BE49-F238E27FC236}">
                    <a16:creationId xmlns:a16="http://schemas.microsoft.com/office/drawing/2014/main" id="{25F90D02-ECCA-6263-4DD0-F88B6446AD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3" name="Textfeld 1052">
                <a:extLst>
                  <a:ext uri="{FF2B5EF4-FFF2-40B4-BE49-F238E27FC236}">
                    <a16:creationId xmlns:a16="http://schemas.microsoft.com/office/drawing/2014/main" id="{932CF31C-D7BF-1B4B-191B-50F78BB3EE4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1049" name="Gruppieren 1048">
              <a:extLst>
                <a:ext uri="{FF2B5EF4-FFF2-40B4-BE49-F238E27FC236}">
                  <a16:creationId xmlns:a16="http://schemas.microsoft.com/office/drawing/2014/main" id="{124DD565-65CA-12F0-420D-6434CEC12CC6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1050" name="Gerader Verbinder 1049">
                <a:extLst>
                  <a:ext uri="{FF2B5EF4-FFF2-40B4-BE49-F238E27FC236}">
                    <a16:creationId xmlns:a16="http://schemas.microsoft.com/office/drawing/2014/main" id="{75166AC3-FBD9-32EA-CC1C-27F57406D9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1" name="Textfeld 1050">
                <a:extLst>
                  <a:ext uri="{FF2B5EF4-FFF2-40B4-BE49-F238E27FC236}">
                    <a16:creationId xmlns:a16="http://schemas.microsoft.com/office/drawing/2014/main" id="{C7961F3A-C3F9-1923-1332-4DAB23E0C16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cxnSp>
        <p:nvCxnSpPr>
          <p:cNvPr id="1062" name="Gerade Verbindung 68">
            <a:extLst>
              <a:ext uri="{FF2B5EF4-FFF2-40B4-BE49-F238E27FC236}">
                <a16:creationId xmlns:a16="http://schemas.microsoft.com/office/drawing/2014/main" id="{8F3F66CA-CE30-8CFC-9F85-728202043442}"/>
              </a:ext>
            </a:extLst>
          </p:cNvPr>
          <p:cNvCxnSpPr>
            <a:cxnSpLocks/>
          </p:cNvCxnSpPr>
          <p:nvPr/>
        </p:nvCxnSpPr>
        <p:spPr>
          <a:xfrm>
            <a:off x="0" y="6517553"/>
            <a:ext cx="12192000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3" name="Grafik 1062">
            <a:extLst>
              <a:ext uri="{FF2B5EF4-FFF2-40B4-BE49-F238E27FC236}">
                <a16:creationId xmlns:a16="http://schemas.microsoft.com/office/drawing/2014/main" id="{9C89C752-2BB5-081D-02BB-90EF64DFB3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  <p:sp>
        <p:nvSpPr>
          <p:cNvPr id="1064" name="Textplatzhalter 56">
            <a:extLst>
              <a:ext uri="{FF2B5EF4-FFF2-40B4-BE49-F238E27FC236}">
                <a16:creationId xmlns:a16="http://schemas.microsoft.com/office/drawing/2014/main" id="{22ABEC1F-4BB8-8B02-1071-B1F0B6B3EBA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Werbevideo</a:t>
            </a:r>
          </a:p>
        </p:txBody>
      </p:sp>
    </p:spTree>
    <p:extLst>
      <p:ext uri="{BB962C8B-B14F-4D97-AF65-F5344CB8AC3E}">
        <p14:creationId xmlns:p14="http://schemas.microsoft.com/office/powerpoint/2010/main" val="937114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0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0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0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1024" grpId="0"/>
      <p:bldP spid="1025" grpId="0"/>
      <p:bldP spid="1027" grpId="0"/>
      <p:bldP spid="1028" grpId="0"/>
      <p:bldP spid="1064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36AF1-31E7-85F1-BF9E-BCB3CD6D3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1727AF53-E80A-2ADD-C74F-DA2630D1EE2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5256326"/>
            <a:ext cx="12192000" cy="709522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B2F4EF68-72C7-4A35-5104-467B1E1A701B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4A8A1ACE-DD6E-D659-F5F2-20EFCF73C7D6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" action="ppaction://noaction"/>
            <a:extLst>
              <a:ext uri="{FF2B5EF4-FFF2-40B4-BE49-F238E27FC236}">
                <a16:creationId xmlns:a16="http://schemas.microsoft.com/office/drawing/2014/main" id="{B9FD1DCF-A9E7-6588-FE5C-FBDEBA648A8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A8D69FA1-A48C-8010-9EE0-FF7A3143690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E2CEF8A2-A61C-50CD-52C0-5BF5EB64A836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" action="ppaction://noaction"/>
            <a:extLst>
              <a:ext uri="{FF2B5EF4-FFF2-40B4-BE49-F238E27FC236}">
                <a16:creationId xmlns:a16="http://schemas.microsoft.com/office/drawing/2014/main" id="{D390DB27-912A-37B8-CCF3-222568145EA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9B23108A-B54E-3D5C-8C1B-80054BE9C4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FA6D665E-8131-4CD6-CF63-6C42F1D474C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" action="ppaction://noaction"/>
            <a:extLst>
              <a:ext uri="{FF2B5EF4-FFF2-40B4-BE49-F238E27FC236}">
                <a16:creationId xmlns:a16="http://schemas.microsoft.com/office/drawing/2014/main" id="{45861784-1E89-48F4-0B2D-62053262C52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9AA71D8D-7449-4602-919C-328CBD6A6D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C05AC6FF-3429-B0EF-913F-911DE92B0A4F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" action="ppaction://noaction"/>
            <a:extLst>
              <a:ext uri="{FF2B5EF4-FFF2-40B4-BE49-F238E27FC236}">
                <a16:creationId xmlns:a16="http://schemas.microsoft.com/office/drawing/2014/main" id="{D3A2E9B2-0DE7-278B-E1A2-6D8AB56FD8D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294E27AD-C7C7-E648-5E24-84A82224E55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3AA590DB-910B-17EE-22C3-8E6E555DECF1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" action="ppaction://noaction"/>
            <a:extLst>
              <a:ext uri="{FF2B5EF4-FFF2-40B4-BE49-F238E27FC236}">
                <a16:creationId xmlns:a16="http://schemas.microsoft.com/office/drawing/2014/main" id="{C530479F-A5F8-5933-02AC-DC6A1F01E13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87458FDC-EFAB-3A5F-3E15-73F11D9257D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7C01B289-D8A3-97EC-9BCF-A6A85B375805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5" action="ppaction://hlinksldjump"/>
            <a:extLst>
              <a:ext uri="{FF2B5EF4-FFF2-40B4-BE49-F238E27FC236}">
                <a16:creationId xmlns:a16="http://schemas.microsoft.com/office/drawing/2014/main" id="{3BDEAFFC-06D7-C021-05AE-564DE4A646A8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5" action="ppaction://hlinksldjump"/>
            <a:extLst>
              <a:ext uri="{FF2B5EF4-FFF2-40B4-BE49-F238E27FC236}">
                <a16:creationId xmlns:a16="http://schemas.microsoft.com/office/drawing/2014/main" id="{48E1678E-0DBE-B183-0AC2-F432946ED22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7453B586-BF41-EFD1-16FD-2B9259A23D91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DCD3F6B6-2AD9-4DBF-518D-21E83CE8CC0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D12AA2CB-8520-96C3-6C57-FDB56286A42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217B2911-220D-9F0D-B750-5E2E6F9381AF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31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44186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E3F7C-ADC6-63EC-8B98-9AFD6250F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ACDF65-FCC8-1B15-2038-CF6AD3B7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flexio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D07E9-19FF-9176-FEF6-8E6C59F144D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Problem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0454C1-8634-904C-9CB9-7D9B0CD548E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C2A7A8-EC80-B6A0-242F-AB1B4FD6B1C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2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9684BD1-DB5C-243C-C89C-780268C304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19" y="2213042"/>
            <a:ext cx="7739632" cy="3184729"/>
          </a:xfrm>
          <a:prstGeom prst="rect">
            <a:avLst/>
          </a:pr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954D3DFC-7438-5791-8559-7A78C2C281F9}"/>
              </a:ext>
            </a:extLst>
          </p:cNvPr>
          <p:cNvSpPr txBox="1">
            <a:spLocks/>
          </p:cNvSpPr>
          <p:nvPr/>
        </p:nvSpPr>
        <p:spPr>
          <a:xfrm>
            <a:off x="518319" y="1440011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de-DE"/>
              <a:t>1. Höhenproblematik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784027DC-B6E4-F723-475F-6D29E47A2913}"/>
              </a:ext>
            </a:extLst>
          </p:cNvPr>
          <p:cNvCxnSpPr>
            <a:cxnSpLocks/>
          </p:cNvCxnSpPr>
          <p:nvPr/>
        </p:nvCxnSpPr>
        <p:spPr>
          <a:xfrm>
            <a:off x="2101174" y="3599234"/>
            <a:ext cx="0" cy="1634247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B04F1520-2FFF-339D-8AE8-0E1258F59981}"/>
              </a:ext>
            </a:extLst>
          </p:cNvPr>
          <p:cNvCxnSpPr>
            <a:cxnSpLocks/>
          </p:cNvCxnSpPr>
          <p:nvPr/>
        </p:nvCxnSpPr>
        <p:spPr>
          <a:xfrm>
            <a:off x="4388135" y="3599234"/>
            <a:ext cx="0" cy="1634247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560D12F-B89A-3EDC-436C-52EAFA6CB967}"/>
              </a:ext>
            </a:extLst>
          </p:cNvPr>
          <p:cNvCxnSpPr>
            <a:cxnSpLocks/>
          </p:cNvCxnSpPr>
          <p:nvPr/>
        </p:nvCxnSpPr>
        <p:spPr>
          <a:xfrm>
            <a:off x="6533744" y="3599233"/>
            <a:ext cx="0" cy="1634247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087AF6F9-5C4E-2CEF-4533-43FDBDE4F74F}"/>
              </a:ext>
            </a:extLst>
          </p:cNvPr>
          <p:cNvSpPr txBox="1"/>
          <p:nvPr/>
        </p:nvSpPr>
        <p:spPr>
          <a:xfrm>
            <a:off x="8428827" y="2762151"/>
            <a:ext cx="3037965" cy="19015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Nur sehr geringer Höhenversatz erlaubt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Schwierige Justierung der individuellen Höhen</a:t>
            </a:r>
          </a:p>
        </p:txBody>
      </p:sp>
    </p:spTree>
    <p:extLst>
      <p:ext uri="{BB962C8B-B14F-4D97-AF65-F5344CB8AC3E}">
        <p14:creationId xmlns:p14="http://schemas.microsoft.com/office/powerpoint/2010/main" val="5734935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95B28-46AA-FD73-524E-202B731E43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A3D622-6BED-C894-5CEF-7D50E0A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flexion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28A-8D82-E7AE-0CCD-ABEFC708716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Problem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D6E7B8-358F-C0A8-F4AD-40C85F2DAF1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11FBB-7144-C964-7B27-ECA52D2C37E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75C527DE-4326-E63A-9F93-5F75F431D161}"/>
              </a:ext>
            </a:extLst>
          </p:cNvPr>
          <p:cNvSpPr txBox="1">
            <a:spLocks/>
          </p:cNvSpPr>
          <p:nvPr/>
        </p:nvSpPr>
        <p:spPr>
          <a:xfrm>
            <a:off x="518319" y="1440011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de-DE"/>
              <a:t>2. Hubproblematik Lineareinheit</a:t>
            </a:r>
          </a:p>
        </p:txBody>
      </p:sp>
      <p:pic>
        <p:nvPicPr>
          <p:cNvPr id="9" name="Grafik 8" descr="Ein Bild, das Screenshot, 3D-Modellierung enthält.&#10;&#10;KI-generierte Inhalte können fehlerhaft sein.">
            <a:extLst>
              <a:ext uri="{FF2B5EF4-FFF2-40B4-BE49-F238E27FC236}">
                <a16:creationId xmlns:a16="http://schemas.microsoft.com/office/drawing/2014/main" id="{947FDF0F-B4C5-AED8-98E7-EB58DE036E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19" y="2318379"/>
            <a:ext cx="6878406" cy="2730279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EED73A65-7F0A-E379-C3E4-92F09ADEECDC}"/>
              </a:ext>
            </a:extLst>
          </p:cNvPr>
          <p:cNvCxnSpPr/>
          <p:nvPr/>
        </p:nvCxnSpPr>
        <p:spPr>
          <a:xfrm flipH="1">
            <a:off x="729575" y="3151762"/>
            <a:ext cx="2023353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6FAE774-A0F4-A081-EF41-55277448BA44}"/>
              </a:ext>
            </a:extLst>
          </p:cNvPr>
          <p:cNvCxnSpPr>
            <a:cxnSpLocks/>
          </p:cNvCxnSpPr>
          <p:nvPr/>
        </p:nvCxnSpPr>
        <p:spPr>
          <a:xfrm flipH="1">
            <a:off x="5161097" y="3151762"/>
            <a:ext cx="2037371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67AC16E2-EE59-F689-D843-5C90E62A678B}"/>
              </a:ext>
            </a:extLst>
          </p:cNvPr>
          <p:cNvSpPr txBox="1"/>
          <p:nvPr/>
        </p:nvSpPr>
        <p:spPr>
          <a:xfrm>
            <a:off x="7607981" y="2237167"/>
            <a:ext cx="4154200" cy="37482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Aufgrund der Doppelhubfunktion ist eine exakte Positionierung des Zahnrads notwendig (Vollständiges Aufschieben auf die Drehplatte)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ublänge muss exakt symmetrisch eingestellt sein (Einerseits eine Seite vollständig ausfahren, andererseits Magazin für Nachschub freigeben)</a:t>
            </a:r>
          </a:p>
        </p:txBody>
      </p:sp>
    </p:spTree>
    <p:extLst>
      <p:ext uri="{BB962C8B-B14F-4D97-AF65-F5344CB8AC3E}">
        <p14:creationId xmlns:p14="http://schemas.microsoft.com/office/powerpoint/2010/main" val="7184282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53A50-E123-5942-C0F7-4E180F585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B1D7026A-7905-DB34-BB1F-1A9E52753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flexion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C2AA27D6-3693-21CE-5705-51EF915E1F7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Probleme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E97AEE2C-9C6D-80A4-F1EA-97BC188D3FB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5E357BBA-A67A-E5A5-162B-9ACAAFA8098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323E7AB-2CFD-E791-67AF-7ADCBA75D467}"/>
              </a:ext>
            </a:extLst>
          </p:cNvPr>
          <p:cNvSpPr txBox="1"/>
          <p:nvPr/>
        </p:nvSpPr>
        <p:spPr>
          <a:xfrm>
            <a:off x="1185729" y="2237167"/>
            <a:ext cx="10273454" cy="3389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Beschränkte Materialauswahl aufgrund der Gewichtsvorgaben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Eingeschränkter Platzbedarf  (555x355x420)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Zeit ist größte Hürde</a:t>
            </a:r>
          </a:p>
          <a:p>
            <a:pPr marL="342900" indent="-342900">
              <a:spcAft>
                <a:spcPts val="800"/>
              </a:spcAft>
              <a:buFontTx/>
              <a:buChar char="-"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Kurzfristige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Designänderung aufgrund der Erkenntnis über Ausformschrägen an der Kunststoffbox (Maßabweichungen der Box hin zum Boxenboden)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70C7D0-A255-AD15-3A29-E019228E98A5}"/>
              </a:ext>
            </a:extLst>
          </p:cNvPr>
          <p:cNvSpPr txBox="1">
            <a:spLocks/>
          </p:cNvSpPr>
          <p:nvPr/>
        </p:nvSpPr>
        <p:spPr>
          <a:xfrm>
            <a:off x="518319" y="1440011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5pPr>
            <a:lvl6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6pPr>
            <a:lvl7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7pPr>
            <a:lvl8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8pPr>
            <a:lvl9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ZEISS Frutiger Next W1G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de-DE"/>
              <a:t>3. Weitere Probleme</a:t>
            </a:r>
          </a:p>
        </p:txBody>
      </p:sp>
      <p:sp>
        <p:nvSpPr>
          <p:cNvPr id="4" name="Gewitterblitz 3">
            <a:extLst>
              <a:ext uri="{FF2B5EF4-FFF2-40B4-BE49-F238E27FC236}">
                <a16:creationId xmlns:a16="http://schemas.microsoft.com/office/drawing/2014/main" id="{DE2DB5AD-C9F0-B6D8-8031-69F5806EC42C}"/>
              </a:ext>
            </a:extLst>
          </p:cNvPr>
          <p:cNvSpPr/>
          <p:nvPr/>
        </p:nvSpPr>
        <p:spPr>
          <a:xfrm rot="511901">
            <a:off x="261002" y="4482548"/>
            <a:ext cx="830723" cy="1396987"/>
          </a:xfrm>
          <a:prstGeom prst="lightningBolt">
            <a:avLst/>
          </a:prstGeom>
          <a:noFill/>
          <a:ln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5367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8648E-0603-4F3D-B3CD-F3F79EAF9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2D69B35A-F94A-FB6A-4710-D25D778E5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>
                <a:cs typeface="Arial"/>
              </a:rPr>
              <a:t>Lessons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Learned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AE31A3CD-926B-7B07-C11B-3229D751B008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C92FBCC7-0DC6-0519-D83B-0D9B7E423DC7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8D23267-1844-D715-7652-4D95C7CC9B50}"/>
              </a:ext>
            </a:extLst>
          </p:cNvPr>
          <p:cNvSpPr txBox="1"/>
          <p:nvPr/>
        </p:nvSpPr>
        <p:spPr>
          <a:xfrm>
            <a:off x="1185729" y="2356436"/>
            <a:ext cx="9274877" cy="38472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Konstruktion &amp; Realität oft erhebliche Unterschiede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aterialsteifigkeiten und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Verformungsverhalten werden erst nach einzelnen Testphasen ersichtlich (3D-Druck)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Toleranzketten verstärken kleine Herausforderungen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Striktes Einhalten des Zeitplans erforderlich</a:t>
            </a:r>
          </a:p>
          <a:p>
            <a:pPr>
              <a:spcAft>
                <a:spcPts val="800"/>
              </a:spcAft>
            </a:pP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5" name="Grafik 4" descr="Ein Bild, das Zeichnung, Entwurf, Clipart, Darstellung enthält.&#10;&#10;KI-generierte Inhalte können fehlerhaft sein.">
            <a:extLst>
              <a:ext uri="{FF2B5EF4-FFF2-40B4-BE49-F238E27FC236}">
                <a16:creationId xmlns:a16="http://schemas.microsoft.com/office/drawing/2014/main" id="{2D393874-9AAD-BE3E-3371-980CD0CD25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60" b="42628"/>
          <a:stretch>
            <a:fillRect/>
          </a:stretch>
        </p:blipFill>
        <p:spPr>
          <a:xfrm>
            <a:off x="4312252" y="226878"/>
            <a:ext cx="2633903" cy="802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137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3234EC-45E4-05F8-19BB-560253834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5FC25F0-931F-B059-5984-0EEB65037D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323" y="1510528"/>
            <a:ext cx="4187323" cy="4187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4C0B59-7FFF-8779-9ED9-B4C7E3BE8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usblick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6DC52-531D-6D49-8A81-257FCB0DD4C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Zusätzliche Funktionen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7899FB-AE32-7908-1FA5-2346A0D3C89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1D23D-6992-1B0A-77E2-7426106B5816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9EEDBD6-A096-B036-ED1C-48E76AA5F5D6}"/>
              </a:ext>
            </a:extLst>
          </p:cNvPr>
          <p:cNvSpPr txBox="1"/>
          <p:nvPr/>
        </p:nvSpPr>
        <p:spPr>
          <a:xfrm>
            <a:off x="4862969" y="1670547"/>
            <a:ext cx="6948706" cy="359072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Menü</a:t>
            </a:r>
            <a:endParaRPr lang="de-DE"/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Start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top</a:t>
            </a: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b="1">
                <a:solidFill>
                  <a:srgbClr val="000000"/>
                </a:solidFill>
                <a:latin typeface="ZEISS Frutiger Next W1G"/>
              </a:rPr>
              <a:t>Robot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bout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Status Icons:</a:t>
            </a: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/	    </a:t>
            </a:r>
          </a:p>
          <a:p>
            <a:pPr lvl="2">
              <a:spcAft>
                <a:spcPts val="800"/>
              </a:spcAft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	ein Lager leer</a:t>
            </a:r>
          </a:p>
          <a:p>
            <a:pPr lvl="1">
              <a:spcAft>
                <a:spcPts val="800"/>
              </a:spcAft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		Not-Halt</a:t>
            </a:r>
          </a:p>
        </p:txBody>
      </p:sp>
      <p:sp>
        <p:nvSpPr>
          <p:cNvPr id="25" name="Gleichschenkliges Dreieck 24">
            <a:extLst>
              <a:ext uri="{FF2B5EF4-FFF2-40B4-BE49-F238E27FC236}">
                <a16:creationId xmlns:a16="http://schemas.microsoft.com/office/drawing/2014/main" id="{0C794D6C-C520-B3C6-A7CC-A70071FDB56C}"/>
              </a:ext>
            </a:extLst>
          </p:cNvPr>
          <p:cNvSpPr/>
          <p:nvPr/>
        </p:nvSpPr>
        <p:spPr>
          <a:xfrm rot="5400000">
            <a:off x="5311147" y="4174839"/>
            <a:ext cx="257776" cy="220220"/>
          </a:xfrm>
          <a:prstGeom prst="triangle">
            <a:avLst/>
          </a:prstGeom>
          <a:solidFill>
            <a:srgbClr val="3C8A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BC86749-3D2F-EC21-7E7F-627E12149887}"/>
              </a:ext>
            </a:extLst>
          </p:cNvPr>
          <p:cNvSpPr/>
          <p:nvPr/>
        </p:nvSpPr>
        <p:spPr>
          <a:xfrm>
            <a:off x="5909667" y="4208221"/>
            <a:ext cx="67377" cy="2308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D452C1C-3E53-80B6-5CFA-59A2572C7637}"/>
              </a:ext>
            </a:extLst>
          </p:cNvPr>
          <p:cNvSpPr/>
          <p:nvPr/>
        </p:nvSpPr>
        <p:spPr>
          <a:xfrm>
            <a:off x="5794944" y="4208221"/>
            <a:ext cx="67377" cy="2308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CA88201-0062-8FB3-3CC4-FC18FDAF35C0}"/>
              </a:ext>
            </a:extLst>
          </p:cNvPr>
          <p:cNvSpPr/>
          <p:nvPr/>
        </p:nvSpPr>
        <p:spPr>
          <a:xfrm>
            <a:off x="5567249" y="4622315"/>
            <a:ext cx="178596" cy="17603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0" name="Gleichschenkliges Dreieck 29">
            <a:extLst>
              <a:ext uri="{FF2B5EF4-FFF2-40B4-BE49-F238E27FC236}">
                <a16:creationId xmlns:a16="http://schemas.microsoft.com/office/drawing/2014/main" id="{96C9B038-F411-1739-1486-E6A433942200}"/>
              </a:ext>
            </a:extLst>
          </p:cNvPr>
          <p:cNvSpPr/>
          <p:nvPr/>
        </p:nvSpPr>
        <p:spPr>
          <a:xfrm>
            <a:off x="5478228" y="4559935"/>
            <a:ext cx="350404" cy="81896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250B0E91-2691-0828-BB01-91F395DCB0AC}"/>
              </a:ext>
            </a:extLst>
          </p:cNvPr>
          <p:cNvSpPr/>
          <p:nvPr/>
        </p:nvSpPr>
        <p:spPr>
          <a:xfrm>
            <a:off x="5593277" y="5028530"/>
            <a:ext cx="178596" cy="17603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0426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A3A55-32A2-99D9-8612-44D5F6AA6A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29E9F5C-83FD-8A5A-089B-02DBAC88E62D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E2ACCD-26A1-2796-ADCB-EF2DAC07FA5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903E41F-886A-044B-CBC2-911F3AAEE1A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7F2DB1F-BB7E-E803-E856-1977161C6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89" r="25571"/>
          <a:stretch/>
        </p:blipFill>
        <p:spPr>
          <a:xfrm>
            <a:off x="8218373" y="1459199"/>
            <a:ext cx="4210126" cy="46971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93B7D2F-16A4-D559-8EE6-BA6022377D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09" y="1971979"/>
            <a:ext cx="3260378" cy="365391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C393D2-8029-8D88-6567-C4479D820157}"/>
              </a:ext>
            </a:extLst>
          </p:cNvPr>
          <p:cNvSpPr txBox="1"/>
          <p:nvPr/>
        </p:nvSpPr>
        <p:spPr>
          <a:xfrm>
            <a:off x="2569063" y="1182200"/>
            <a:ext cx="650821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3600" b="1">
                <a:solidFill>
                  <a:schemeClr val="bg1"/>
                </a:solidFill>
              </a:rPr>
              <a:t>DAILYM8 – Technik, die verbindet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D4C18FB-EF37-16DE-EA0D-48B810EB39DC}"/>
              </a:ext>
            </a:extLst>
          </p:cNvPr>
          <p:cNvSpPr txBox="1"/>
          <p:nvPr/>
        </p:nvSpPr>
        <p:spPr>
          <a:xfrm>
            <a:off x="3291716" y="3542014"/>
            <a:ext cx="560856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3600" b="1">
                <a:solidFill>
                  <a:schemeClr val="bg1"/>
                </a:solidFill>
              </a:rPr>
              <a:t>Projektgruppe 4 sagt Danke!</a:t>
            </a:r>
          </a:p>
        </p:txBody>
      </p:sp>
    </p:spTree>
    <p:extLst>
      <p:ext uri="{BB962C8B-B14F-4D97-AF65-F5344CB8AC3E}">
        <p14:creationId xmlns:p14="http://schemas.microsoft.com/office/powerpoint/2010/main" val="3493767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5AC1D-259D-3B45-3F1A-588BCC7B2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B2F389B4-314C-CE3C-880D-CEBC7350D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86BA22F-A57C-0AF9-C011-5273FFC457F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esign Multitool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212C0BD8-5189-18C6-CC09-A5F4075B11F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AC8C035F-E5ED-3EEC-B33F-262FEADF36F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62E08A7-36E9-A539-715D-F67992379B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8260" b="71498" l="25108" r="68541">
                        <a14:foregroundMark x1="42088" y1="47113" x2="42088" y2="47113"/>
                        <a14:foregroundMark x1="42088" y1="47113" x2="40608" y2="57489"/>
                        <a14:foregroundMark x1="40608" y1="57489" x2="40608" y2="57489"/>
                        <a14:foregroundMark x1="41900" y1="47558" x2="41416" y2="57004"/>
                        <a14:foregroundMark x1="41416" y1="57004" x2="37406" y2="64877"/>
                        <a14:foregroundMark x1="37406" y1="64877" x2="30274" y2="37868"/>
                        <a14:foregroundMark x1="30274" y1="37868" x2="43488" y2="49051"/>
                        <a14:foregroundMark x1="44564" y1="33629" x2="56351" y2="32216"/>
                        <a14:foregroundMark x1="56351" y1="32216" x2="51157" y2="36092"/>
                        <a14:foregroundMark x1="51157" y1="36092" x2="46394" y2="33468"/>
                        <a14:foregroundMark x1="46394" y1="33468" x2="44160" y2="36455"/>
                        <a14:foregroundMark x1="50700" y1="35406" x2="51830" y2="61486"/>
                        <a14:foregroundMark x1="51830" y1="61486" x2="53445" y2="64756"/>
                        <a14:foregroundMark x1="56808" y1="37344" x2="62513" y2="36092"/>
                        <a14:foregroundMark x1="62513" y1="36092" x2="65339" y2="42430"/>
                        <a14:foregroundMark x1="65339" y1="42430" x2="66900" y2="53896"/>
                        <a14:foregroundMark x1="66900" y1="53896" x2="64586" y2="61486"/>
                        <a14:foregroundMark x1="64586" y1="61486" x2="52960" y2="66694"/>
                        <a14:foregroundMark x1="52960" y1="66694" x2="52960" y2="66532"/>
                        <a14:foregroundMark x1="38832" y1="67864" x2="32616" y2="69641"/>
                        <a14:foregroundMark x1="26695" y1="61930" x2="26695" y2="61930"/>
                        <a14:foregroundMark x1="27879" y1="60597" x2="26399" y2="65927"/>
                        <a14:foregroundMark x1="34984" y1="71538" x2="34984" y2="71538"/>
                        <a14:foregroundMark x1="56808" y1="28300" x2="56808" y2="28300"/>
                        <a14:foregroundMark x1="68568" y1="36011" x2="68568" y2="36011"/>
                        <a14:foregroundMark x1="33315" y1="32136" x2="33315" y2="32136"/>
                        <a14:foregroundMark x1="25108" y1="30359" x2="25108" y2="30359"/>
                        <a14:backgroundMark x1="60280" y1="55390" x2="57992" y2="48163"/>
                        <a14:backgroundMark x1="57992" y1="48163" x2="58100" y2="44287"/>
                        <a14:backgroundMark x1="45156" y1="37344" x2="45156" y2="37344"/>
                        <a14:backgroundMark x1="45291" y1="48769" x2="45291" y2="48769"/>
                        <a14:backgroundMark x1="45048" y1="61768" x2="45048" y2="6176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25777" r="29654" b="25702"/>
          <a:stretch/>
        </p:blipFill>
        <p:spPr>
          <a:xfrm rot="16200000">
            <a:off x="1899061" y="2098823"/>
            <a:ext cx="4194257" cy="2941516"/>
          </a:xfrm>
          <a:prstGeom prst="rect">
            <a:avLst/>
          </a:prstGeom>
        </p:spPr>
      </p:pic>
      <p:pic>
        <p:nvPicPr>
          <p:cNvPr id="41" name="Grafik 40" descr="Ein Bild, das Text, Grafiken, Schrift, Grafikdesign enthält.&#10;&#10;KI-generierte Inhalte können fehlerhaft sein.">
            <a:extLst>
              <a:ext uri="{FF2B5EF4-FFF2-40B4-BE49-F238E27FC236}">
                <a16:creationId xmlns:a16="http://schemas.microsoft.com/office/drawing/2014/main" id="{23C81A1C-BB16-3D70-F04C-81C1D4EF2F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994591">
            <a:off x="5746290" y="1495702"/>
            <a:ext cx="4259793" cy="425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130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B26D2-6BDC-CEB2-1F7C-FB99E7B62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7DA8A495-DD45-0869-BA1F-7ED1CFBC1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D373F934-B069-CC8C-FEEC-E78EF9AEC29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esignoptionen – MagSafe</a:t>
            </a:r>
          </a:p>
          <a:p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75387EB3-FB44-0BF6-7E45-AF3041484226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BBD0D4A9-2B6A-6D75-85D5-C337C5DA4496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5</a:t>
            </a:fld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75E7C19-C63C-26D0-BE77-0C231C14FEB1}"/>
              </a:ext>
            </a:extLst>
          </p:cNvPr>
          <p:cNvGrpSpPr/>
          <p:nvPr/>
        </p:nvGrpSpPr>
        <p:grpSpPr>
          <a:xfrm>
            <a:off x="649462" y="1647237"/>
            <a:ext cx="3519608" cy="4510405"/>
            <a:chOff x="77032" y="1655765"/>
            <a:chExt cx="3519608" cy="4510405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9B101D4-CE3F-06A4-6105-65824C19D1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31086" b="70206" l="28391" r="66335">
                          <a14:foregroundMark x1="34123" y1="44166" x2="36383" y2="53815"/>
                          <a14:foregroundMark x1="39263" y1="55430" x2="33827" y2="61809"/>
                          <a14:foregroundMark x1="55947" y1="41381" x2="61598" y2="39483"/>
                          <a14:foregroundMark x1="61598" y1="39483" x2="64047" y2="37061"/>
                          <a14:foregroundMark x1="43595" y1="66855" x2="32051" y2="66411"/>
                          <a14:foregroundMark x1="32051" y1="66411" x2="32320" y2="57852"/>
                          <a14:foregroundMark x1="32320" y1="57852" x2="35199" y2="49697"/>
                          <a14:foregroundMark x1="35199" y1="49697" x2="35791" y2="44328"/>
                          <a14:foregroundMark x1="35549" y1="47598" x2="32239" y2="39927"/>
                          <a14:foregroundMark x1="32239" y1="39927" x2="35145" y2="34396"/>
                          <a14:foregroundMark x1="30597" y1="33831" x2="30597" y2="33831"/>
                          <a14:foregroundMark x1="43837" y1="35890" x2="56055" y2="32782"/>
                          <a14:foregroundMark x1="56055" y1="32782" x2="61383" y2="32782"/>
                          <a14:foregroundMark x1="61383" y1="32782" x2="64801" y2="38555"/>
                          <a14:foregroundMark x1="66185" y1="54057" x2="66416" y2="56641"/>
                          <a14:foregroundMark x1="64801" y1="38555" x2="66185" y2="54057"/>
                          <a14:foregroundMark x1="66416" y1="56641" x2="64451" y2="65765"/>
                          <a14:foregroundMark x1="64451" y1="65765" x2="62594" y2="65805"/>
                          <a14:foregroundMark x1="36033" y1="68551" x2="29736" y2="66411"/>
                          <a14:foregroundMark x1="29736" y1="66411" x2="29978" y2="59225"/>
                          <a14:foregroundMark x1="29978" y1="59225" x2="34688" y2="50787"/>
                          <a14:foregroundMark x1="34688" y1="50787" x2="29709" y2="36496"/>
                          <a14:foregroundMark x1="29360" y1="36334" x2="29360" y2="36334"/>
                          <a14:foregroundMark x1="66066" y1="34316" x2="65097" y2="61768"/>
                          <a14:foregroundMark x1="65097" y1="61768" x2="64909" y2="61647"/>
                          <a14:foregroundMark x1="65124" y1="68349" x2="65124" y2="68349"/>
                          <a14:foregroundMark x1="65797" y1="67461" x2="65797" y2="67461"/>
                          <a14:foregroundMark x1="28498" y1="37949" x2="28498" y2="37949"/>
                          <a14:foregroundMark x1="28498" y1="40250" x2="28498" y2="40250"/>
                          <a14:foregroundMark x1="28391" y1="41058" x2="28391" y2="41058"/>
                          <a14:foregroundMark x1="66281" y1="33226" x2="66281" y2="33226"/>
                          <a14:foregroundMark x1="66335" y1="33105" x2="66335" y2="33105"/>
                          <a14:foregroundMark x1="66146" y1="65725" x2="66146" y2="65725"/>
                          <a14:foregroundMark x1="66200" y1="66815" x2="66200" y2="66815"/>
                          <a14:foregroundMark x1="66200" y1="67501" x2="66200" y2="67501"/>
                          <a14:foregroundMark x1="66093" y1="67864" x2="66093" y2="67864"/>
                          <a14:foregroundMark x1="52314" y1="31328" x2="52314" y2="31328"/>
                          <a14:foregroundMark x1="43945" y1="32216" x2="43945" y2="32216"/>
                          <a14:foregroundMark x1="43057" y1="32499" x2="44160" y2="32983"/>
                          <a14:foregroundMark x1="30571" y1="68753" x2="41819" y2="68753"/>
                          <a14:foregroundMark x1="43811" y1="69721" x2="43811" y2="69721"/>
                          <a14:foregroundMark x1="43622" y1="70004" x2="43622" y2="70004"/>
                          <a14:foregroundMark x1="43837" y1="69237" x2="43837" y2="69237"/>
                          <a14:foregroundMark x1="43138" y1="31490" x2="38455" y2="31530"/>
                          <a14:foregroundMark x1="38455" y1="31530" x2="37648" y2="32701"/>
                          <a14:foregroundMark x1="62191" y1="69641" x2="62191" y2="69641"/>
                          <a14:foregroundMark x1="63240" y1="31328" x2="63240" y2="31328"/>
                          <a14:foregroundMark x1="59849" y1="31207" x2="59849" y2="31207"/>
                          <a14:foregroundMark x1="57400" y1="31086" x2="57400" y2="31086"/>
                          <a14:foregroundMark x1="57885" y1="31126" x2="57885" y2="31126"/>
                          <a14:foregroundMark x1="43811" y1="69560" x2="43811" y2="69560"/>
                          <a14:foregroundMark x1="44026" y1="69641" x2="44026" y2="69641"/>
                          <a14:foregroundMark x1="44241" y1="67824" x2="43999" y2="67461"/>
                          <a14:foregroundMark x1="44107" y1="69237" x2="44107" y2="69237"/>
                          <a14:foregroundMark x1="43891" y1="70206" x2="43891" y2="70206"/>
                          <a14:foregroundMark x1="44618" y1="68026" x2="42115" y2="65321"/>
                          <a14:foregroundMark x1="43757" y1="68954" x2="43972" y2="68712"/>
                          <a14:foregroundMark x1="42896" y1="70004" x2="43730" y2="70004"/>
                          <a14:foregroundMark x1="43219" y1="69802" x2="43219" y2="69802"/>
                          <a14:foregroundMark x1="43245" y1="69762" x2="43918" y2="70206"/>
                          <a14:foregroundMark x1="42869" y1="69520" x2="42869" y2="69520"/>
                          <a14:foregroundMark x1="42869" y1="69520" x2="42869" y2="69520"/>
                          <a14:backgroundMark x1="66712" y1="46064" x2="66712" y2="46064"/>
                          <a14:backgroundMark x1="66765" y1="48486" x2="66765" y2="48486"/>
                          <a14:backgroundMark x1="66792" y1="47436" x2="66792" y2="47436"/>
                          <a14:backgroundMark x1="66523" y1="65240" x2="66523" y2="65240"/>
                          <a14:backgroundMark x1="66577" y1="66088" x2="66577" y2="66088"/>
                          <a14:backgroundMark x1="66765" y1="33912" x2="66765" y2="33912"/>
                          <a14:backgroundMark x1="66550" y1="50989" x2="66550" y2="50989"/>
                          <a14:backgroundMark x1="66550" y1="54057" x2="66550" y2="54057"/>
                          <a14:backgroundMark x1="66523" y1="56399" x2="66523" y2="56399"/>
                          <a14:backgroundMark x1="66523" y1="33064" x2="66523" y2="33064"/>
                          <a14:backgroundMark x1="66631" y1="45700" x2="66631" y2="45700"/>
                          <a14:backgroundMark x1="52476" y1="32660" x2="52476" y2="32660"/>
                          <a14:backgroundMark x1="52503" y1="32741" x2="52503" y2="32741"/>
                          <a14:backgroundMark x1="52503" y1="32741" x2="52503" y2="32741"/>
                          <a14:backgroundMark x1="66927" y1="34881" x2="68541" y2="54905"/>
                          <a14:backgroundMark x1="68541" y1="54905" x2="66577" y2="652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16" t="28035" r="31409" b="25595"/>
            <a:stretch/>
          </p:blipFill>
          <p:spPr>
            <a:xfrm rot="16200000">
              <a:off x="-491928" y="2417130"/>
              <a:ext cx="4318000" cy="3180080"/>
            </a:xfrm>
            <a:prstGeom prst="rect">
              <a:avLst/>
            </a:prstGeom>
          </p:spPr>
        </p:pic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8FFAC9B1-117A-5BAC-4AF8-2241F5CA4FFA}"/>
                </a:ext>
              </a:extLst>
            </p:cNvPr>
            <p:cNvSpPr/>
            <p:nvPr/>
          </p:nvSpPr>
          <p:spPr>
            <a:xfrm>
              <a:off x="213360" y="1655765"/>
              <a:ext cx="3383280" cy="407670"/>
            </a:xfrm>
            <a:custGeom>
              <a:avLst/>
              <a:gdLst>
                <a:gd name="connsiteX0" fmla="*/ 0 w 3383280"/>
                <a:gd name="connsiteY0" fmla="*/ 384810 h 407670"/>
                <a:gd name="connsiteX1" fmla="*/ 3383280 w 3383280"/>
                <a:gd name="connsiteY1" fmla="*/ 407670 h 407670"/>
                <a:gd name="connsiteX2" fmla="*/ 3341370 w 3383280"/>
                <a:gd name="connsiteY2" fmla="*/ 0 h 407670"/>
                <a:gd name="connsiteX3" fmla="*/ 72390 w 3383280"/>
                <a:gd name="connsiteY3" fmla="*/ 30480 h 407670"/>
                <a:gd name="connsiteX4" fmla="*/ 0 w 3383280"/>
                <a:gd name="connsiteY4" fmla="*/ 384810 h 40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3280" h="407670">
                  <a:moveTo>
                    <a:pt x="0" y="384810"/>
                  </a:moveTo>
                  <a:lnTo>
                    <a:pt x="3383280" y="407670"/>
                  </a:lnTo>
                  <a:lnTo>
                    <a:pt x="3341370" y="0"/>
                  </a:lnTo>
                  <a:lnTo>
                    <a:pt x="72390" y="30480"/>
                  </a:lnTo>
                  <a:lnTo>
                    <a:pt x="0" y="38481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CD8C1066-9AB9-B615-9251-96785633CED0}"/>
                </a:ext>
              </a:extLst>
            </p:cNvPr>
            <p:cNvSpPr/>
            <p:nvPr/>
          </p:nvSpPr>
          <p:spPr>
            <a:xfrm rot="1957128">
              <a:off x="2820072" y="1845794"/>
              <a:ext cx="384810" cy="306385"/>
            </a:xfrm>
            <a:custGeom>
              <a:avLst/>
              <a:gdLst>
                <a:gd name="connsiteX0" fmla="*/ 0 w 3383280"/>
                <a:gd name="connsiteY0" fmla="*/ 384810 h 407670"/>
                <a:gd name="connsiteX1" fmla="*/ 3383280 w 3383280"/>
                <a:gd name="connsiteY1" fmla="*/ 407670 h 407670"/>
                <a:gd name="connsiteX2" fmla="*/ 3341370 w 3383280"/>
                <a:gd name="connsiteY2" fmla="*/ 0 h 407670"/>
                <a:gd name="connsiteX3" fmla="*/ 72390 w 3383280"/>
                <a:gd name="connsiteY3" fmla="*/ 30480 h 407670"/>
                <a:gd name="connsiteX4" fmla="*/ 0 w 3383280"/>
                <a:gd name="connsiteY4" fmla="*/ 384810 h 40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3280" h="407670">
                  <a:moveTo>
                    <a:pt x="0" y="384810"/>
                  </a:moveTo>
                  <a:lnTo>
                    <a:pt x="3383280" y="407670"/>
                  </a:lnTo>
                  <a:lnTo>
                    <a:pt x="3341370" y="0"/>
                  </a:lnTo>
                  <a:lnTo>
                    <a:pt x="72390" y="30480"/>
                  </a:lnTo>
                  <a:lnTo>
                    <a:pt x="0" y="38481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CCC54CBA-33ED-0A86-DE8E-56CB106869A0}"/>
                </a:ext>
              </a:extLst>
            </p:cNvPr>
            <p:cNvSpPr/>
            <p:nvPr/>
          </p:nvSpPr>
          <p:spPr>
            <a:xfrm rot="1150038">
              <a:off x="2725493" y="1790329"/>
              <a:ext cx="384810" cy="306385"/>
            </a:xfrm>
            <a:custGeom>
              <a:avLst/>
              <a:gdLst>
                <a:gd name="connsiteX0" fmla="*/ 0 w 3383280"/>
                <a:gd name="connsiteY0" fmla="*/ 384810 h 407670"/>
                <a:gd name="connsiteX1" fmla="*/ 3383280 w 3383280"/>
                <a:gd name="connsiteY1" fmla="*/ 407670 h 407670"/>
                <a:gd name="connsiteX2" fmla="*/ 3341370 w 3383280"/>
                <a:gd name="connsiteY2" fmla="*/ 0 h 407670"/>
                <a:gd name="connsiteX3" fmla="*/ 72390 w 3383280"/>
                <a:gd name="connsiteY3" fmla="*/ 30480 h 407670"/>
                <a:gd name="connsiteX4" fmla="*/ 0 w 3383280"/>
                <a:gd name="connsiteY4" fmla="*/ 384810 h 40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3280" h="407670">
                  <a:moveTo>
                    <a:pt x="0" y="384810"/>
                  </a:moveTo>
                  <a:lnTo>
                    <a:pt x="3383280" y="407670"/>
                  </a:lnTo>
                  <a:lnTo>
                    <a:pt x="3341370" y="0"/>
                  </a:lnTo>
                  <a:lnTo>
                    <a:pt x="72390" y="30480"/>
                  </a:lnTo>
                  <a:lnTo>
                    <a:pt x="0" y="38481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263DA05-50E7-8A31-CB3F-46C520620314}"/>
                </a:ext>
              </a:extLst>
            </p:cNvPr>
            <p:cNvSpPr/>
            <p:nvPr/>
          </p:nvSpPr>
          <p:spPr>
            <a:xfrm rot="2418096">
              <a:off x="2872473" y="1880273"/>
              <a:ext cx="384810" cy="306385"/>
            </a:xfrm>
            <a:custGeom>
              <a:avLst/>
              <a:gdLst>
                <a:gd name="connsiteX0" fmla="*/ 0 w 3383280"/>
                <a:gd name="connsiteY0" fmla="*/ 384810 h 407670"/>
                <a:gd name="connsiteX1" fmla="*/ 3383280 w 3383280"/>
                <a:gd name="connsiteY1" fmla="*/ 407670 h 407670"/>
                <a:gd name="connsiteX2" fmla="*/ 3341370 w 3383280"/>
                <a:gd name="connsiteY2" fmla="*/ 0 h 407670"/>
                <a:gd name="connsiteX3" fmla="*/ 72390 w 3383280"/>
                <a:gd name="connsiteY3" fmla="*/ 30480 h 407670"/>
                <a:gd name="connsiteX4" fmla="*/ 0 w 3383280"/>
                <a:gd name="connsiteY4" fmla="*/ 384810 h 40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3280" h="407670">
                  <a:moveTo>
                    <a:pt x="0" y="384810"/>
                  </a:moveTo>
                  <a:lnTo>
                    <a:pt x="3383280" y="407670"/>
                  </a:lnTo>
                  <a:lnTo>
                    <a:pt x="3341370" y="0"/>
                  </a:lnTo>
                  <a:lnTo>
                    <a:pt x="72390" y="30480"/>
                  </a:lnTo>
                  <a:lnTo>
                    <a:pt x="0" y="38481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A14D262C-B27D-364F-302B-7DC5C31376BC}"/>
                </a:ext>
              </a:extLst>
            </p:cNvPr>
            <p:cNvSpPr/>
            <p:nvPr/>
          </p:nvSpPr>
          <p:spPr>
            <a:xfrm rot="3550216">
              <a:off x="2916536" y="1965066"/>
              <a:ext cx="384810" cy="306385"/>
            </a:xfrm>
            <a:custGeom>
              <a:avLst/>
              <a:gdLst>
                <a:gd name="connsiteX0" fmla="*/ 0 w 3383280"/>
                <a:gd name="connsiteY0" fmla="*/ 384810 h 407670"/>
                <a:gd name="connsiteX1" fmla="*/ 3383280 w 3383280"/>
                <a:gd name="connsiteY1" fmla="*/ 407670 h 407670"/>
                <a:gd name="connsiteX2" fmla="*/ 3341370 w 3383280"/>
                <a:gd name="connsiteY2" fmla="*/ 0 h 407670"/>
                <a:gd name="connsiteX3" fmla="*/ 72390 w 3383280"/>
                <a:gd name="connsiteY3" fmla="*/ 30480 h 407670"/>
                <a:gd name="connsiteX4" fmla="*/ 0 w 3383280"/>
                <a:gd name="connsiteY4" fmla="*/ 384810 h 40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3280" h="407670">
                  <a:moveTo>
                    <a:pt x="0" y="384810"/>
                  </a:moveTo>
                  <a:lnTo>
                    <a:pt x="3383280" y="407670"/>
                  </a:lnTo>
                  <a:lnTo>
                    <a:pt x="3341370" y="0"/>
                  </a:lnTo>
                  <a:lnTo>
                    <a:pt x="72390" y="30480"/>
                  </a:lnTo>
                  <a:lnTo>
                    <a:pt x="0" y="38481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66055AAB-96A9-4DC4-EBC9-B477E2FB78F1}"/>
                </a:ext>
              </a:extLst>
            </p:cNvPr>
            <p:cNvGrpSpPr/>
            <p:nvPr/>
          </p:nvGrpSpPr>
          <p:grpSpPr>
            <a:xfrm>
              <a:off x="2840043" y="3664407"/>
              <a:ext cx="297180" cy="734925"/>
              <a:chOff x="2840043" y="3664407"/>
              <a:chExt cx="297180" cy="734925"/>
            </a:xfrm>
          </p:grpSpPr>
          <p:sp>
            <p:nvSpPr>
              <p:cNvPr id="9" name="Rechteck: obere Ecken abgerundet 8">
                <a:extLst>
                  <a:ext uri="{FF2B5EF4-FFF2-40B4-BE49-F238E27FC236}">
                    <a16:creationId xmlns:a16="http://schemas.microsoft.com/office/drawing/2014/main" id="{27964D40-61D8-D936-1D60-F0AB7ED9EFDE}"/>
                  </a:ext>
                </a:extLst>
              </p:cNvPr>
              <p:cNvSpPr/>
              <p:nvPr/>
            </p:nvSpPr>
            <p:spPr>
              <a:xfrm>
                <a:off x="2840043" y="4140252"/>
                <a:ext cx="297180" cy="259080"/>
              </a:xfrm>
              <a:prstGeom prst="round2SameRect">
                <a:avLst>
                  <a:gd name="adj1" fmla="val 0"/>
                  <a:gd name="adj2" fmla="val 11029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  <p:sp>
            <p:nvSpPr>
              <p:cNvPr id="10" name="Rechteck: obere Ecken abgerundet 9">
                <a:extLst>
                  <a:ext uri="{FF2B5EF4-FFF2-40B4-BE49-F238E27FC236}">
                    <a16:creationId xmlns:a16="http://schemas.microsoft.com/office/drawing/2014/main" id="{EFBB0FA7-5F06-BD59-C6A4-7C018E553184}"/>
                  </a:ext>
                </a:extLst>
              </p:cNvPr>
              <p:cNvSpPr/>
              <p:nvPr/>
            </p:nvSpPr>
            <p:spPr>
              <a:xfrm rot="10800000">
                <a:off x="2840043" y="3664407"/>
                <a:ext cx="297180" cy="563081"/>
              </a:xfrm>
              <a:prstGeom prst="round2SameRect">
                <a:avLst>
                  <a:gd name="adj1" fmla="val 0"/>
                  <a:gd name="adj2" fmla="val 11029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D4A872D-D345-C18D-29A5-DF3CA9767733}"/>
                </a:ext>
              </a:extLst>
            </p:cNvPr>
            <p:cNvGrpSpPr/>
            <p:nvPr/>
          </p:nvGrpSpPr>
          <p:grpSpPr>
            <a:xfrm>
              <a:off x="112083" y="3639707"/>
              <a:ext cx="297180" cy="734925"/>
              <a:chOff x="2840043" y="3664407"/>
              <a:chExt cx="297180" cy="734925"/>
            </a:xfrm>
          </p:grpSpPr>
          <p:sp>
            <p:nvSpPr>
              <p:cNvPr id="15" name="Rechteck: obere Ecken abgerundet 14">
                <a:extLst>
                  <a:ext uri="{FF2B5EF4-FFF2-40B4-BE49-F238E27FC236}">
                    <a16:creationId xmlns:a16="http://schemas.microsoft.com/office/drawing/2014/main" id="{890754C4-9E2E-7A66-2444-38F37E6042B5}"/>
                  </a:ext>
                </a:extLst>
              </p:cNvPr>
              <p:cNvSpPr/>
              <p:nvPr/>
            </p:nvSpPr>
            <p:spPr>
              <a:xfrm>
                <a:off x="2840043" y="4140252"/>
                <a:ext cx="297180" cy="259080"/>
              </a:xfrm>
              <a:prstGeom prst="round2SameRect">
                <a:avLst>
                  <a:gd name="adj1" fmla="val 0"/>
                  <a:gd name="adj2" fmla="val 11029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  <p:sp>
            <p:nvSpPr>
              <p:cNvPr id="16" name="Rechteck: obere Ecken abgerundet 15">
                <a:extLst>
                  <a:ext uri="{FF2B5EF4-FFF2-40B4-BE49-F238E27FC236}">
                    <a16:creationId xmlns:a16="http://schemas.microsoft.com/office/drawing/2014/main" id="{68767356-7CE7-F4FC-63E1-C08A68C238EA}"/>
                  </a:ext>
                </a:extLst>
              </p:cNvPr>
              <p:cNvSpPr/>
              <p:nvPr/>
            </p:nvSpPr>
            <p:spPr>
              <a:xfrm rot="10800000">
                <a:off x="2840043" y="3664407"/>
                <a:ext cx="297180" cy="563081"/>
              </a:xfrm>
              <a:prstGeom prst="round2SameRect">
                <a:avLst>
                  <a:gd name="adj1" fmla="val 0"/>
                  <a:gd name="adj2" fmla="val 11029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3E50344-51A8-801A-B102-E3130F508DE7}"/>
              </a:ext>
            </a:extLst>
          </p:cNvPr>
          <p:cNvGrpSpPr/>
          <p:nvPr/>
        </p:nvGrpSpPr>
        <p:grpSpPr>
          <a:xfrm>
            <a:off x="7865195" y="1728170"/>
            <a:ext cx="3429000" cy="4663440"/>
            <a:chOff x="2819053" y="1943521"/>
            <a:chExt cx="3429000" cy="466344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DC22D7E4-5E03-38A1-C8C8-4A06A815D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30400" b="71256" l="28741" r="66496">
                          <a14:foregroundMark x1="40635" y1="71256" x2="40635" y2="71256"/>
                          <a14:foregroundMark x1="36948" y1="63020" x2="36948" y2="63020"/>
                          <a14:foregroundMark x1="42411" y1="37667" x2="65043" y2="51231"/>
                          <a14:foregroundMark x1="65043" y1="51231" x2="63294" y2="60194"/>
                          <a14:foregroundMark x1="63294" y1="60194" x2="51668" y2="69277"/>
                          <a14:foregroundMark x1="51668" y1="69277" x2="41039" y2="67178"/>
                          <a14:foregroundMark x1="65877" y1="67178" x2="65877" y2="67178"/>
                          <a14:foregroundMark x1="44564" y1="70327" x2="44564" y2="70327"/>
                          <a14:foregroundMark x1="44322" y1="71013" x2="44322" y2="71013"/>
                          <a14:foregroundMark x1="44322" y1="71054" x2="44322" y2="71054"/>
                          <a14:foregroundMark x1="66469" y1="58619" x2="66469" y2="58619"/>
                          <a14:foregroundMark x1="66308" y1="51675" x2="66308" y2="51675"/>
                          <a14:foregroundMark x1="66469" y1="48365" x2="66469" y2="48365"/>
                          <a14:foregroundMark x1="66496" y1="52887" x2="66496" y2="52887"/>
                          <a14:foregroundMark x1="66012" y1="35850" x2="66308" y2="42309"/>
                          <a14:foregroundMark x1="66254" y1="68672" x2="65770" y2="67017"/>
                          <a14:foregroundMark x1="64101" y1="71215" x2="64101" y2="71215"/>
                          <a14:foregroundMark x1="65581" y1="70811" x2="65581" y2="70811"/>
                          <a14:foregroundMark x1="66119" y1="70206" x2="66119" y2="70206"/>
                          <a14:foregroundMark x1="66173" y1="34073" x2="66173" y2="34073"/>
                          <a14:backgroundMark x1="44107" y1="32539" x2="44806" y2="33872"/>
                          <a14:backgroundMark x1="44214" y1="34114" x2="44214" y2="34114"/>
                          <a14:backgroundMark x1="44214" y1="34114" x2="44214" y2="34114"/>
                          <a14:backgroundMark x1="44295" y1="34518" x2="44295" y2="34518"/>
                          <a14:backgroundMark x1="44510" y1="72063" x2="44510" y2="72063"/>
                          <a14:backgroundMark x1="44779" y1="70933" x2="44779" y2="70933"/>
                          <a14:backgroundMark x1="45640" y1="70488" x2="45640" y2="70488"/>
                          <a14:backgroundMark x1="45883" y1="70488" x2="45883" y2="70488"/>
                          <a14:backgroundMark x1="47067" y1="70327" x2="47067" y2="70327"/>
                          <a14:backgroundMark x1="46448" y1="70569" x2="46448" y2="70569"/>
                          <a14:backgroundMark x1="45075" y1="70731" x2="45075" y2="70731"/>
                          <a14:backgroundMark x1="45048" y1="70569" x2="45048" y2="70569"/>
                          <a14:backgroundMark x1="45183" y1="70488" x2="45183" y2="70488"/>
                          <a14:backgroundMark x1="44699" y1="70731" x2="44699" y2="70731"/>
                          <a14:backgroundMark x1="67008" y1="41260" x2="67546" y2="54744"/>
                          <a14:backgroundMark x1="67008" y1="47759" x2="67008" y2="47759"/>
                          <a14:backgroundMark x1="67088" y1="47921" x2="67169" y2="50989"/>
                          <a14:backgroundMark x1="67142" y1="51797" x2="67653" y2="58700"/>
                          <a14:backgroundMark x1="67653" y1="58700" x2="67250" y2="52241"/>
                          <a14:backgroundMark x1="67169" y1="52685" x2="67761" y2="68591"/>
                          <a14:backgroundMark x1="66612" y1="70206" x2="65635" y2="71579"/>
                          <a14:backgroundMark x1="67761" y1="68591" x2="66612" y2="70206"/>
                          <a14:backgroundMark x1="67115" y1="64554" x2="67115" y2="64554"/>
                          <a14:backgroundMark x1="67142" y1="62979" x2="67142" y2="62979"/>
                          <a14:backgroundMark x1="67169" y1="61930" x2="67169" y2="61930"/>
                          <a14:backgroundMark x1="67169" y1="60275" x2="67169" y2="60275"/>
                          <a14:backgroundMark x1="67034" y1="59911" x2="67034" y2="59911"/>
                          <a14:backgroundMark x1="67008" y1="57449" x2="67008" y2="57449"/>
                          <a14:backgroundMark x1="67026" y1="58619" x2="66954" y2="61930"/>
                          <a14:backgroundMark x1="67142" y1="53290" x2="67026" y2="58619"/>
                          <a14:backgroundMark x1="67169" y1="65684" x2="67169" y2="65684"/>
                          <a14:backgroundMark x1="67250" y1="67057" x2="67250" y2="67057"/>
                          <a14:backgroundMark x1="62809" y1="71821" x2="62809" y2="71821"/>
                          <a14:backgroundMark x1="63132" y1="71740" x2="63132" y2="71740"/>
                          <a14:backgroundMark x1="65231" y1="71982" x2="63321" y2="71942"/>
                          <a14:backgroundMark x1="66738" y1="34316" x2="67223" y2="40816"/>
                          <a14:backgroundMark x1="66416" y1="34073" x2="66416" y2="34073"/>
                          <a14:backgroundMark x1="66281" y1="33791" x2="66281" y2="3379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96" t="25444" r="30370" b="24555"/>
            <a:stretch/>
          </p:blipFill>
          <p:spPr>
            <a:xfrm rot="16200000">
              <a:off x="2201833" y="2560741"/>
              <a:ext cx="4663440" cy="3429000"/>
            </a:xfrm>
            <a:prstGeom prst="rect">
              <a:avLst/>
            </a:prstGeom>
          </p:spPr>
        </p:pic>
        <p:sp>
          <p:nvSpPr>
            <p:cNvPr id="21" name="Rechteck: obere Ecken abgerundet 20">
              <a:extLst>
                <a:ext uri="{FF2B5EF4-FFF2-40B4-BE49-F238E27FC236}">
                  <a16:creationId xmlns:a16="http://schemas.microsoft.com/office/drawing/2014/main" id="{F45084CD-10B5-9F73-A1AB-CC9C49520BB3}"/>
                </a:ext>
              </a:extLst>
            </p:cNvPr>
            <p:cNvSpPr/>
            <p:nvPr/>
          </p:nvSpPr>
          <p:spPr>
            <a:xfrm>
              <a:off x="3158213" y="4312096"/>
              <a:ext cx="297180" cy="259080"/>
            </a:xfrm>
            <a:prstGeom prst="round2SameRect">
              <a:avLst>
                <a:gd name="adj1" fmla="val 0"/>
                <a:gd name="adj2" fmla="val 11029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22" name="Rechteck: obere Ecken abgerundet 21">
              <a:extLst>
                <a:ext uri="{FF2B5EF4-FFF2-40B4-BE49-F238E27FC236}">
                  <a16:creationId xmlns:a16="http://schemas.microsoft.com/office/drawing/2014/main" id="{1394B65E-011A-1625-498F-8C7FE6CC9D90}"/>
                </a:ext>
              </a:extLst>
            </p:cNvPr>
            <p:cNvSpPr/>
            <p:nvPr/>
          </p:nvSpPr>
          <p:spPr>
            <a:xfrm rot="10800000">
              <a:off x="3158213" y="3836251"/>
              <a:ext cx="297180" cy="563081"/>
            </a:xfrm>
            <a:prstGeom prst="round2SameRect">
              <a:avLst>
                <a:gd name="adj1" fmla="val 0"/>
                <a:gd name="adj2" fmla="val 11029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23" name="Rechteck: obere Ecken abgerundet 22">
              <a:extLst>
                <a:ext uri="{FF2B5EF4-FFF2-40B4-BE49-F238E27FC236}">
                  <a16:creationId xmlns:a16="http://schemas.microsoft.com/office/drawing/2014/main" id="{FFE268DA-B413-28F7-153B-60DBE31CAE60}"/>
                </a:ext>
              </a:extLst>
            </p:cNvPr>
            <p:cNvSpPr/>
            <p:nvPr/>
          </p:nvSpPr>
          <p:spPr>
            <a:xfrm>
              <a:off x="5884812" y="4287396"/>
              <a:ext cx="297180" cy="259080"/>
            </a:xfrm>
            <a:prstGeom prst="round2SameRect">
              <a:avLst>
                <a:gd name="adj1" fmla="val 0"/>
                <a:gd name="adj2" fmla="val 11029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24" name="Rechteck: obere Ecken abgerundet 23">
              <a:extLst>
                <a:ext uri="{FF2B5EF4-FFF2-40B4-BE49-F238E27FC236}">
                  <a16:creationId xmlns:a16="http://schemas.microsoft.com/office/drawing/2014/main" id="{ADBBDC5F-C861-8638-564D-CE350C530DD0}"/>
                </a:ext>
              </a:extLst>
            </p:cNvPr>
            <p:cNvSpPr/>
            <p:nvPr/>
          </p:nvSpPr>
          <p:spPr>
            <a:xfrm rot="10800000">
              <a:off x="5884812" y="3811551"/>
              <a:ext cx="297180" cy="563081"/>
            </a:xfrm>
            <a:prstGeom prst="round2SameRect">
              <a:avLst>
                <a:gd name="adj1" fmla="val 0"/>
                <a:gd name="adj2" fmla="val 11029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4484073E-7102-D49C-459A-AF23116EB4FB}"/>
              </a:ext>
            </a:extLst>
          </p:cNvPr>
          <p:cNvSpPr txBox="1"/>
          <p:nvPr/>
        </p:nvSpPr>
        <p:spPr>
          <a:xfrm>
            <a:off x="1256366" y="1419344"/>
            <a:ext cx="195623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Diamantenmuster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65D0989-06AB-20FC-2D71-1CFB299633BC}"/>
              </a:ext>
            </a:extLst>
          </p:cNvPr>
          <p:cNvSpPr txBox="1"/>
          <p:nvPr/>
        </p:nvSpPr>
        <p:spPr>
          <a:xfrm>
            <a:off x="9012636" y="1501788"/>
            <a:ext cx="113411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Raumuster</a:t>
            </a:r>
          </a:p>
        </p:txBody>
      </p:sp>
      <p:pic>
        <p:nvPicPr>
          <p:cNvPr id="39" name="Grafik 38" descr="Ein Bild, das Text, Screenshot, Grafiken, Schrift enthält.&#10;&#10;KI-generierte Inhalte können fehlerhaft sein.">
            <a:extLst>
              <a:ext uri="{FF2B5EF4-FFF2-40B4-BE49-F238E27FC236}">
                <a16:creationId xmlns:a16="http://schemas.microsoft.com/office/drawing/2014/main" id="{865EB849-7ECF-FED9-078D-E9F21AEABB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03" t="14667" r="20663" b="23476"/>
          <a:stretch>
            <a:fillRect/>
          </a:stretch>
        </p:blipFill>
        <p:spPr>
          <a:xfrm rot="16200000">
            <a:off x="3858131" y="2449207"/>
            <a:ext cx="4318003" cy="320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9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4315A-F34C-F3BB-28EC-FBE548CD1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7111CE1-ED4D-2295-0AF9-3853CD1671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344058"/>
            <a:ext cx="12192000" cy="719999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755D482D-E41E-3C00-76E3-D6E28C27450F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4FC4D256-204E-E38A-BECA-E71173166482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" action="ppaction://noaction"/>
            <a:extLst>
              <a:ext uri="{FF2B5EF4-FFF2-40B4-BE49-F238E27FC236}">
                <a16:creationId xmlns:a16="http://schemas.microsoft.com/office/drawing/2014/main" id="{9E979012-C090-C87D-FBC7-06B0D0FC60E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flexion /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ssons</a:t>
            </a: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earned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3" name="Rechteck 652">
            <a:hlinkClick r:id="" action="ppaction://noaction"/>
            <a:extLst>
              <a:ext uri="{FF2B5EF4-FFF2-40B4-BE49-F238E27FC236}">
                <a16:creationId xmlns:a16="http://schemas.microsoft.com/office/drawing/2014/main" id="{7B376F06-2EC9-50E7-B85F-87A5B6EE209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D2884D88-4657-0198-B24D-4B908B3C838F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" action="ppaction://noaction"/>
            <a:extLst>
              <a:ext uri="{FF2B5EF4-FFF2-40B4-BE49-F238E27FC236}">
                <a16:creationId xmlns:a16="http://schemas.microsoft.com/office/drawing/2014/main" id="{A75E1E0D-C2FA-7F85-A47A-1BE34EEA11A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Marketing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" action="ppaction://noaction"/>
            <a:extLst>
              <a:ext uri="{FF2B5EF4-FFF2-40B4-BE49-F238E27FC236}">
                <a16:creationId xmlns:a16="http://schemas.microsoft.com/office/drawing/2014/main" id="{12BF7ED2-D2A8-A90B-FFE5-6F939A999A7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5FF598C7-A523-DAB7-95EA-C9470D847A63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" action="ppaction://noaction"/>
            <a:extLst>
              <a:ext uri="{FF2B5EF4-FFF2-40B4-BE49-F238E27FC236}">
                <a16:creationId xmlns:a16="http://schemas.microsoft.com/office/drawing/2014/main" id="{6C3236DB-952D-58EC-74AD-06CFED8EBE5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87032" y="3875231"/>
            <a:ext cx="3635164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ojektmanagement / </a:t>
            </a:r>
            <a:r>
              <a:rPr lang="de-DE">
                <a:solidFill>
                  <a:schemeClr val="tx1"/>
                </a:solidFill>
              </a:rPr>
              <a:t>Kostenkalkulatio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7" name="Rechteck 646">
            <a:hlinkClick r:id="" action="ppaction://noaction"/>
            <a:extLst>
              <a:ext uri="{FF2B5EF4-FFF2-40B4-BE49-F238E27FC236}">
                <a16:creationId xmlns:a16="http://schemas.microsoft.com/office/drawing/2014/main" id="{7AD18516-34E5-75FB-92D5-B358CFDE044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E5FAF37A-9134-8611-90FB-0DB6F406B0E3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" action="ppaction://noaction"/>
            <a:extLst>
              <a:ext uri="{FF2B5EF4-FFF2-40B4-BE49-F238E27FC236}">
                <a16:creationId xmlns:a16="http://schemas.microsoft.com/office/drawing/2014/main" id="{C8C4AF90-2B9D-8CF8-9BE3-E9D36AC67B1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4" name="Rechteck 643">
            <a:hlinkClick r:id="" action="ppaction://noaction"/>
            <a:extLst>
              <a:ext uri="{FF2B5EF4-FFF2-40B4-BE49-F238E27FC236}">
                <a16:creationId xmlns:a16="http://schemas.microsoft.com/office/drawing/2014/main" id="{23FA71D1-481B-7912-C23A-D6930DF0757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1CF85E41-7329-7E7A-415D-92A52F343FD3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" action="ppaction://noaction"/>
            <a:extLst>
              <a:ext uri="{FF2B5EF4-FFF2-40B4-BE49-F238E27FC236}">
                <a16:creationId xmlns:a16="http://schemas.microsoft.com/office/drawing/2014/main" id="{5D5E219B-49FB-6543-9DFB-64A1F237172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ufbau und Funktionsweise der Montageeinrichtung</a:t>
            </a:r>
          </a:p>
        </p:txBody>
      </p:sp>
      <p:sp>
        <p:nvSpPr>
          <p:cNvPr id="641" name="Rechteck 640">
            <a:hlinkClick r:id="" action="ppaction://noaction"/>
            <a:extLst>
              <a:ext uri="{FF2B5EF4-FFF2-40B4-BE49-F238E27FC236}">
                <a16:creationId xmlns:a16="http://schemas.microsoft.com/office/drawing/2014/main" id="{601CF6A2-20D2-6D1E-37B5-8B45C6A1728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416A63FF-A29A-D3F6-BF37-31527DE74E71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5" action="ppaction://hlinksldjump"/>
            <a:extLst>
              <a:ext uri="{FF2B5EF4-FFF2-40B4-BE49-F238E27FC236}">
                <a16:creationId xmlns:a16="http://schemas.microsoft.com/office/drawing/2014/main" id="{202E75C6-B36C-8AEA-EF5A-860673A6007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5" action="ppaction://hlinksldjump"/>
            <a:extLst>
              <a:ext uri="{FF2B5EF4-FFF2-40B4-BE49-F238E27FC236}">
                <a16:creationId xmlns:a16="http://schemas.microsoft.com/office/drawing/2014/main" id="{2366BF5D-3FA6-0524-F1A5-38E44562C6A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D899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A94AD945-DC78-17C8-2899-15BA595B307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3A166331-136D-D570-1BD7-DEA3827B351F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A52F3E74-9581-9D89-6FE9-F6339205681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3. Jul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10F16B3C-7F1C-22B0-21B8-1927A24E5D5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6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4590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331CF-D837-0F68-97C8-A486533AFE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87423-4680-96A4-0E83-376D08B9C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2E3728C-58F2-1E3C-62C9-A0BEF272131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ufbau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6411C3-8858-A0E8-4FF2-6E6DFAE8FD76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E74A54-80F8-266D-BC30-0496D7521508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CE89D9-849E-F028-7BE9-A9187E0A5535}"/>
              </a:ext>
            </a:extLst>
          </p:cNvPr>
          <p:cNvSpPr txBox="1"/>
          <p:nvPr/>
        </p:nvSpPr>
        <p:spPr>
          <a:xfrm>
            <a:off x="7300961" y="1639447"/>
            <a:ext cx="3791108" cy="43124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CAD-Baugrupp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2000">
              <a:solidFill>
                <a:srgbClr val="000000"/>
              </a:solidFill>
              <a:latin typeface="ZEISS Frutiger Next W1G"/>
            </a:endParaRP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</a:rPr>
              <a:t>Gehäuse mit Auswurffach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  <a:p>
            <a:pPr marL="342900" marR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inearführung zur Zuführung der Ober- und Unterseite</a:t>
            </a:r>
          </a:p>
          <a:p>
            <a:pPr marL="342900" marR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Drehmechanismus inklusive Hubmagnet</a:t>
            </a:r>
          </a:p>
          <a:p>
            <a:pPr marL="342900" marR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Roboterarm mit Gummibandmagazin</a:t>
            </a:r>
          </a:p>
        </p:txBody>
      </p:sp>
      <p:pic>
        <p:nvPicPr>
          <p:cNvPr id="8" name="Grafik 7" descr="Ein Bild, das Entwurf enthält.&#10;&#10;KI-generierte Inhalte können fehlerhaft sein.">
            <a:extLst>
              <a:ext uri="{FF2B5EF4-FFF2-40B4-BE49-F238E27FC236}">
                <a16:creationId xmlns:a16="http://schemas.microsoft.com/office/drawing/2014/main" id="{82261F73-7152-A373-CF8C-6D6F1F4B9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19" y="1355409"/>
            <a:ext cx="5286133" cy="501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88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2C679-7F2D-22B5-07E1-34C43F6780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F69981-87C1-73B4-683C-14C386BE3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17B4A9-AF77-DBAA-3BBC-959C234D7C0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Funktionsprinzip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F90D10-E54C-DBD3-BA32-E29439550E4A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661987"/>
            <a:ext cx="6103196" cy="392416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b="1">
                <a:cs typeface="Arial"/>
              </a:rPr>
              <a:t>Arbeitsschritte:</a:t>
            </a:r>
            <a:endParaRPr lang="en-US" sz="1800">
              <a:cs typeface="Arial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1800">
                <a:cs typeface="Arial"/>
              </a:rPr>
              <a:t>Ausschieben der Unterseite mit dem MagSafe-Magne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1800">
                <a:cs typeface="Arial"/>
              </a:rPr>
              <a:t>Ausschieben der Oberseite mit dem Flaschenöffner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1800">
                <a:cs typeface="Arial"/>
              </a:rPr>
              <a:t>Überziehen des Gummiband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1800">
                <a:cs typeface="Arial"/>
              </a:rPr>
              <a:t>Ausgabe des Werbegeschenks</a:t>
            </a:r>
            <a:endParaRPr lang="de-DE" sz="18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054262-78E2-9650-1346-BD56340592E5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158ED8-93F8-3068-6660-AA25636C6FB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276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4A375-32A0-39DA-EEA8-E07D6F44C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20633D-0038-A876-0310-176DA2A6D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einrichtu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743E18-F082-8FBC-3CA7-9F949889BEB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Funktionsprinzip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EDF8B8-90E2-31E6-22EB-78E5F9186B78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3. Jul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9D06D3-5FE0-944E-883E-2797F4381FF7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2509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b468f759-76e0-4d03-bd06-9d48572d903c"/>
  <p:tag name="EE4P_AGENDAWIZARD" val="&lt;ee4p&gt;&lt;layouts&gt;&lt;layout name=&quot;Section Divider Agenda&quot; id=&quot;491_1&quot;&gt;&lt;standard&gt;&lt;textframe horizontalAnchor=&quot;1&quot; marginBottom=&quot;0&quot; marginLeft=&quot;0&quot; marginRight=&quot;0&quot; marginTop=&quot;0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position left=&quot;40.81252&quot; top=&quot;133.7706&quot; width=&quot;878.7402&quot; height=&quot;351.4961&quot; /&gt;&lt;settings allowedSizingModeIds=&quot;1|2&quot; allowedFontSizes=&quot;8|9|10|10.5|11|12|14|16|18&quot; allowedTimeFormatIds=&quot;1|2|3&quot; slideLayout=&quot;11&quot; customLayoutNameSingle=&quot;&quot; customLayoutName=&quot;Section Divider#Kapiteltrenner#Section Divider&quot; customLayoutSeparators=&quot;#&quot; customLayoutIndex=&quot;&quot; showBreak=&quot;1&quot; singleAgendaSlideSelected=&quot;0&quot; backupSlideTitle=&quot;Backup: %agendaName%&quot; topMargin=&quot;0&quot; leftMargin=&quot;0&quot; allowedLevels=&quot;2&quot; itemNoFormats=&quot;{1:2}¦{1}.{2}&quot; /&gt;&lt;cases&gt;&lt;case level=&quot;1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&gt;&lt;textframe verticalAnchor=&quot;3&quot; marginRight=&quot;0&quot; /&gt;&lt;paragraphformat alignment=&quot;1&quot; /&gt;&lt;font color=&quot;#0f2db3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&gt;&lt;textframe verticalAnchor=&quot;3&quot; marginRight=&quot;0&quot; /&gt;&lt;paragraphformat alignment=&quot;1&quot; /&gt;&lt;font color=&quot;14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2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35.71654*scale*fontScale&quot; top=&quot;-5.25*scale*fontScale&quot; width=&quot;agendaWidth-35.71654*scale*fontScale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2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font color=&quot;14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font color=&quot;14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1&quot; selected=&quot;0&quot; break=&quot;1&quot; topMinSpacing=&quot;10.5&quot; topMaxSpacing=&quot;10.5&quot; bottomMinSpacing=&quot;0&quot; bottomMaxSpacing=&quot;0&quot;&gt;&lt;element type=&quot;line&quot; value=&quot;&quot; filter=&quot;2&quot;&gt;&lt;position left=&quot;0&quot; top=&quot;itemHeight+5.25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1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/cases&gt;&lt;elements /&gt;&lt;/layout&gt;&lt;/layouts&gt;&lt;contents&gt;&lt;agenda name=&quot;New Agenda&quot; title=&quot;Agenda&quot; subtitle=&quot;&quot; sizingModeId=&quot;1&quot; fontSize=&quot;18&quot; fontSizeAuto=&quot;0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 singleSlideId=&quot;b8054def-c79d-47c0-9f7a-8efeb3159b17&quot; backupSlideId=&quot;3d8867f4-a236-4b80-9d82-d052c2a55f6c&quot;&gt;&lt;columns leftSpacing=&quot;0&quot; rightSpacing=&quot;0&quot;&gt;&lt;column field=&quot;itemno&quot; label=&quot;No.&quot; checked=&quot;1&quot; leftSpacing=&quot;0&quot; rightSpacing=&quot;0&quot; dock=&quot;1&quot; fixedWidth=&quot;35.71654&quot; /&gt;&lt;column field=&quot;topic&quot; label=&quot;Topic&quot; leftSpacing=&quot;14.60734&quot; rightDistribute=&quot;1&quot; dock=&quot;1&quot; rightSpacing=&quot;555.42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&gt;&lt;item duration=&quot;30&quot; id=&quot;9155fe4a-7d34-4c30-8c69-ab9cb796c05f&quot; parentId=&quot;&quot; level=&quot;1&quot; generateAgendaSlide=&quot;1&quot; showAgendaItem=&quot;1&quot; isBreak=&quot;0&quot; topic=&quot;Werbegeschenk&quot; agendaSlideId=&quot;d7a49385-cff5-4c77-86ef-8fe9481951d0&quot; /&gt;&lt;item duration=&quot;30&quot; id=&quot;6131e443-38e7-4276-87f7-f41c0712277e&quot; parentId=&quot;&quot; level=&quot;1&quot; generateAgendaSlide=&quot;1&quot; showAgendaItem=&quot;1&quot; isBreak=&quot;0&quot; topic=&quot;Montagekonzept&quot; agendaSlideId=&quot;0f8e3dea-11d9-4115-8b96-471584218ff7&quot; /&gt;&lt;item duration=&quot;30&quot; id=&quot;1a20ed3a-4db7-4382-9a7c-f85e299ba3a9&quot; parentId=&quot;&quot; level=&quot;1&quot; generateAgendaSlide=&quot;1&quot; showAgendaItem=&quot;1&quot; isBreak=&quot;0&quot; topic=&quot;Risiko der Montageeinrichtung&quot; agendaSlideId=&quot;f3a54ac1-a758-4c31-90fd-78c8b2e0f479&quot; /&gt;&lt;item duration=&quot;30&quot; id=&quot;31865e21-b103-4f16-82ad-3ee4e0ad8045&quot; parentId=&quot;&quot; level=&quot;1&quot; generateAgendaSlide=&quot;1&quot; showAgendaItem=&quot;1&quot; isBreak=&quot;0&quot; topic=&quot;Steuerung und Elektrische Sturktur&quot; agendaSlideId=&quot;3fc61e2c-d6c1-4a2f-bb18-6fb6370186bb&quot; /&gt;&lt;item duration=&quot;30&quot; id=&quot;118f0cd7-e1c5-4d65-badc-46f99b385a12&quot; parentId=&quot;&quot; level=&quot;1&quot; generateAgendaSlide=&quot;1&quot; showAgendaItem=&quot;1&quot; isBreak=&quot;0&quot; topic=&quot;Projektmanagment&quot; agendaSlideId=&quot;b018dc75-6a0a-43d2-8bf7-0074f75a4f94&quot; /&gt;&lt;item duration=&quot;30&quot; id=&quot;36c8668a-d9c1-4557-ac47-c69cc7feffa3&quot; parentId=&quot;&quot; level=&quot;1&quot; generateAgendaSlide=&quot;1&quot; showAgendaItem=&quot;1&quot; isBreak=&quot;0&quot; topic=&quot;Diskussion&quot; agendaSlideId=&quot;db711b56-5148-48d2-8e6b-59ad4a1eff00&quot; /&gt;&lt;/items&gt;&lt;/agenda&gt;&lt;agenda name=&quot;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 /&gt;&lt;/agenda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heme/theme1.xml><?xml version="1.0" encoding="utf-8"?>
<a:theme xmlns:a="http://schemas.openxmlformats.org/drawingml/2006/main" name="DHBW x Zeiss Master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55ED2"/>
      </a:accent1>
      <a:accent2>
        <a:srgbClr val="4895DD"/>
      </a:accent2>
      <a:accent3>
        <a:srgbClr val="6AB0E2"/>
      </a:accent3>
      <a:accent4>
        <a:srgbClr val="A7CCED"/>
      </a:accent4>
      <a:accent5>
        <a:srgbClr val="C6DAF2"/>
      </a:accent5>
      <a:accent6>
        <a:srgbClr val="E3F1FC"/>
      </a:accent6>
      <a:hlink>
        <a:srgbClr val="008BD0"/>
      </a:hlink>
      <a:folHlink>
        <a:srgbClr val="000000"/>
      </a:folHlink>
    </a:clrScheme>
    <a:fontScheme name="ZEISS">
      <a:majorFont>
        <a:latin typeface="ZEISS Frutiger Next W1G Heavy"/>
        <a:ea typeface=""/>
        <a:cs typeface=""/>
      </a:majorFont>
      <a:minorFont>
        <a:latin typeface="ZEISS Frutiger Next W1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F6F6"/>
        </a:solidFill>
        <a:ln>
          <a:noFill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</a:txDef>
  </a:objectDefaults>
  <a:extraClrSchemeLst/>
  <a:custClrLst>
    <a:custClr name="ZEISS White">
      <a:srgbClr val="FFFFFF"/>
    </a:custClr>
    <a:custClr name="ZEISS Indigo">
      <a:srgbClr val="141E8C"/>
    </a:custClr>
    <a:custClr name="ZEISS Black">
      <a:srgbClr val="000000"/>
    </a:custClr>
    <a:custClr name="ZEISS Cyan">
      <a:srgbClr val="008BD0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ZEISS Black">
      <a:srgbClr val="000000"/>
    </a:custClr>
    <a:custClr name="ZEISS Gray 0 Ultradark">
      <a:srgbClr val="333333"/>
    </a:custClr>
    <a:custClr name="ZEISS Gray 1 Dark">
      <a:srgbClr val="4D4D4D"/>
    </a:custClr>
    <a:custClr name="ZEISS Gray 2 Semidark">
      <a:srgbClr val="666666"/>
    </a:custClr>
    <a:custClr name="ZEISS Gray 3 Medium">
      <a:srgbClr val="7F7F7F"/>
    </a:custClr>
    <a:custClr name="ZEISS Gray 4 Semilight">
      <a:srgbClr val="9B9B9B"/>
    </a:custClr>
    <a:custClr name="ZEISS Gray 5 Light">
      <a:srgbClr val="BCBCBC"/>
    </a:custClr>
    <a:custClr name="ZEISS Gray 6 Ultralight">
      <a:srgbClr val="DFDFDF"/>
    </a:custClr>
    <a:custClr name="ZEISS Gray 7 Semiwhite">
      <a:srgbClr val="F6F6F6"/>
    </a:custClr>
    <a:custClr name="ZEISS White">
      <a:srgbClr val="FFFFFF"/>
    </a:custClr>
    <a:custClr name="ZEISS Purple Red">
      <a:srgbClr val="A70240"/>
    </a:custClr>
    <a:custClr name="ZEISS Bright Orange Neon">
      <a:srgbClr val="FF1A00"/>
    </a:custClr>
    <a:custClr name="ZEISS Orange">
      <a:srgbClr val="EC6500"/>
    </a:custClr>
    <a:custClr name="ZEISS Bright Lemon">
      <a:srgbClr val="FECB00"/>
    </a:custClr>
    <a:custClr name="ZEISS Light Green">
      <a:srgbClr val="DEDE4C"/>
    </a:custClr>
    <a:custClr name="ZEISS Green">
      <a:srgbClr val="3C8A2E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NEU ZEISS-Praesentationsmaster-DE" id="{575E5CB2-DA27-4C96-8E76-310F266B42A9}" vid="{45A3F833-8E27-487E-A0AD-57D5A5C944E3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BA7C9CEF7F57429917BEEC53471633" ma:contentTypeVersion="2" ma:contentTypeDescription="Create a new document." ma:contentTypeScope="" ma:versionID="97b120001eb5c0e0802405b566270281">
  <xsd:schema xmlns:xsd="http://www.w3.org/2001/XMLSchema" xmlns:xs="http://www.w3.org/2001/XMLSchema" xmlns:p="http://schemas.microsoft.com/office/2006/metadata/properties" xmlns:ns2="b7680c80-ca03-400e-aa7f-e46cf9ec65ea" targetNamespace="http://schemas.microsoft.com/office/2006/metadata/properties" ma:root="true" ma:fieldsID="1e3beadebc922b68fc8dc2d05203a0dd" ns2:_="">
    <xsd:import namespace="b7680c80-ca03-400e-aa7f-e46cf9ec65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680c80-ca03-400e-aa7f-e46cf9ec65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7888D9-541E-4A34-8B3A-51E0F06696AE}">
  <ds:schemaRefs>
    <ds:schemaRef ds:uri="b7680c80-ca03-400e-aa7f-e46cf9ec65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FA3349B-2FBF-4342-B6C8-BE663E5E66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B29623-CE4D-4D72-84CB-7E7DC0E119A2}">
  <ds:schemaRefs>
    <ds:schemaRef ds:uri="b7680c80-ca03-400e-aa7f-e46cf9ec65e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28042244-bb51-4cd6-8034-7776fa3703e8}" enabled="0" method="" siteId="{28042244-bb51-4cd6-8034-7776fa3703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4</Words>
  <Application>Microsoft Office PowerPoint</Application>
  <PresentationFormat>Breitbild</PresentationFormat>
  <Paragraphs>385</Paragraphs>
  <Slides>37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9" baseType="lpstr">
      <vt:lpstr>Arial</vt:lpstr>
      <vt:lpstr>Calibri</vt:lpstr>
      <vt:lpstr>Calibri Light</vt:lpstr>
      <vt:lpstr>Cambria Math</vt:lpstr>
      <vt:lpstr>Google Sans</vt:lpstr>
      <vt:lpstr>Symbol</vt:lpstr>
      <vt:lpstr>Wingdings</vt:lpstr>
      <vt:lpstr>ZEISS Frutiger Next W1G</vt:lpstr>
      <vt:lpstr>ZEISS Frutiger Next W1G Lt</vt:lpstr>
      <vt:lpstr>DHBW x Zeiss Master</vt:lpstr>
      <vt:lpstr>Benutzerdefiniertes Design</vt:lpstr>
      <vt:lpstr>think-cell Folie</vt:lpstr>
      <vt:lpstr>Abschlusspräsentation</vt:lpstr>
      <vt:lpstr>Agenda</vt:lpstr>
      <vt:lpstr>Agenda</vt:lpstr>
      <vt:lpstr>Werbegeschenk</vt:lpstr>
      <vt:lpstr>Werbegeschenk</vt:lpstr>
      <vt:lpstr>Agenda</vt:lpstr>
      <vt:lpstr>Montageeinrichtung</vt:lpstr>
      <vt:lpstr>Montageeinrichtung</vt:lpstr>
      <vt:lpstr>Montageeinrichtung</vt:lpstr>
      <vt:lpstr>Montageeinrichtung</vt:lpstr>
      <vt:lpstr>Montageeinrichtung</vt:lpstr>
      <vt:lpstr>Montageeinrichtung</vt:lpstr>
      <vt:lpstr>Montageeinrichtung</vt:lpstr>
      <vt:lpstr>Montageeinrichtung</vt:lpstr>
      <vt:lpstr>Agenda</vt:lpstr>
      <vt:lpstr>Elektrische Struktur und Steuerung</vt:lpstr>
      <vt:lpstr>Elektrische Struktur und Steuerung</vt:lpstr>
      <vt:lpstr>Elektrische Struktur und Steuerung</vt:lpstr>
      <vt:lpstr>Elektrische Struktur und Steuerung</vt:lpstr>
      <vt:lpstr>Elektrische Struktur und Steuerung</vt:lpstr>
      <vt:lpstr>Elektrische Struktur und Steuerung</vt:lpstr>
      <vt:lpstr>Agenda</vt:lpstr>
      <vt:lpstr>Projektmanagement</vt:lpstr>
      <vt:lpstr>Kostenkalkulation</vt:lpstr>
      <vt:lpstr>Kostenkalkulation</vt:lpstr>
      <vt:lpstr>Kostenkalkulation</vt:lpstr>
      <vt:lpstr>Projektmanagement</vt:lpstr>
      <vt:lpstr>Agenda</vt:lpstr>
      <vt:lpstr>Marketing</vt:lpstr>
      <vt:lpstr>PowerPoint-Präsentation</vt:lpstr>
      <vt:lpstr>Agenda</vt:lpstr>
      <vt:lpstr>Reflexion</vt:lpstr>
      <vt:lpstr>Reflexion</vt:lpstr>
      <vt:lpstr>Reflexion</vt:lpstr>
      <vt:lpstr>Lessons Learned</vt:lpstr>
      <vt:lpstr>Ausblick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EISS Präsentationen Präsentationsmaster</dc:title>
  <dc:creator>Marvin Bullinger</dc:creator>
  <cp:lastModifiedBy>Bullinger, Marvin</cp:lastModifiedBy>
  <cp:revision>3</cp:revision>
  <dcterms:created xsi:type="dcterms:W3CDTF">2023-03-09T17:49:08Z</dcterms:created>
  <dcterms:modified xsi:type="dcterms:W3CDTF">2025-07-03T14:4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BA7C9CEF7F57429917BEEC53471633</vt:lpwstr>
  </property>
  <property fmtid="{D5CDD505-2E9C-101B-9397-08002B2CF9AE}" pid="3" name="Order">
    <vt:r8>16982000</vt:r8>
  </property>
  <property fmtid="{D5CDD505-2E9C-101B-9397-08002B2CF9AE}" pid="4" name="xd_Signature">
    <vt:bool>false</vt:bool>
  </property>
  <property fmtid="{D5CDD505-2E9C-101B-9397-08002B2CF9AE}" pid="5" name="SharedWithUsers">
    <vt:lpwstr>660;#Roder, Thomas;#659;#Kressirer, Peter;#661;#Leoff, Louisa</vt:lpwstr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